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wmf" ContentType="image/x-w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2.xml" ContentType="application/vnd.openxmlformats-officedocument.them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autoCompressPictures="0">
  <p:sldMasterIdLst>
    <p:sldMasterId id="2147483669" r:id="rId1"/>
    <p:sldMasterId id="2147483682" r:id="rId2"/>
  </p:sldMasterIdLst>
  <p:sldIdLst>
    <p:sldId id="274" r:id="rId3"/>
    <p:sldId id="275" r:id="rId4"/>
    <p:sldId id="276" r:id="rId5"/>
    <p:sldId id="284" r:id="rId6"/>
    <p:sldId id="281" r:id="rId7"/>
    <p:sldId id="290" r:id="rId8"/>
    <p:sldId id="288" r:id="rId9"/>
    <p:sldId id="266" r:id="rId10"/>
    <p:sldId id="267" r:id="rId11"/>
    <p:sldId id="268" r:id="rId12"/>
    <p:sldId id="270" r:id="rId13"/>
    <p:sldId id="292" r:id="rId14"/>
    <p:sldId id="272" r:id="rId15"/>
    <p:sldId id="285" r:id="rId16"/>
    <p:sldId id="265" r:id="rId17"/>
    <p:sldId id="293" r:id="rId18"/>
    <p:sldId id="286" r:id="rId19"/>
    <p:sldId id="273" r:id="rId20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18603FDC-E32A-4AB5-989C-0864C3EAD2B8}" styleName="Themed Style 2 - Accent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 varScale="1">
        <p:scale>
          <a:sx n="87" d="100"/>
          <a:sy n="87" d="100"/>
        </p:scale>
        <p:origin x="528" y="4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3" Type="http://schemas.openxmlformats.org/officeDocument/2006/relationships/slide" Target="slides/slide1.xml"/><Relationship Id="rId21" Type="http://schemas.openxmlformats.org/officeDocument/2006/relationships/presProps" Target="presProp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tableStyles" Target="tableStyle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theme" Target="theme/theme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Administrator\Desktop\Timeseries\All%20series\time_series_A.csv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8.0959821275604263E-2"/>
          <c:y val="0.15042494424001671"/>
          <c:w val="0.8842272979585124"/>
          <c:h val="0.74871545276843887"/>
        </c:manualLayout>
      </c:layout>
      <c:lineChart>
        <c:grouping val="stacked"/>
        <c:varyColors val="0"/>
        <c:ser>
          <c:idx val="0"/>
          <c:order val="0"/>
          <c:tx>
            <c:strRef>
              <c:f>time_series_A!$B$1</c:f>
              <c:strCache>
                <c:ptCount val="1"/>
                <c:pt idx="0">
                  <c:v>A</c:v>
                </c:pt>
              </c:strCache>
            </c:strRef>
          </c:tx>
          <c:spPr>
            <a:ln w="952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time_series_A!$A$2:$A$1355</c:f>
              <c:numCache>
                <c:formatCode>m/d/yyyy</c:formatCode>
                <c:ptCount val="1354"/>
                <c:pt idx="0">
                  <c:v>41212</c:v>
                </c:pt>
                <c:pt idx="1">
                  <c:v>41213</c:v>
                </c:pt>
                <c:pt idx="2">
                  <c:v>41214</c:v>
                </c:pt>
                <c:pt idx="3">
                  <c:v>41215</c:v>
                </c:pt>
                <c:pt idx="4">
                  <c:v>41218</c:v>
                </c:pt>
                <c:pt idx="5">
                  <c:v>41219</c:v>
                </c:pt>
                <c:pt idx="6">
                  <c:v>41220</c:v>
                </c:pt>
                <c:pt idx="7">
                  <c:v>41221</c:v>
                </c:pt>
                <c:pt idx="8">
                  <c:v>41222</c:v>
                </c:pt>
                <c:pt idx="9">
                  <c:v>41225</c:v>
                </c:pt>
                <c:pt idx="10">
                  <c:v>41226</c:v>
                </c:pt>
                <c:pt idx="11">
                  <c:v>41227</c:v>
                </c:pt>
                <c:pt idx="12">
                  <c:v>41228</c:v>
                </c:pt>
                <c:pt idx="13">
                  <c:v>41229</c:v>
                </c:pt>
                <c:pt idx="14">
                  <c:v>41232</c:v>
                </c:pt>
                <c:pt idx="15">
                  <c:v>41233</c:v>
                </c:pt>
                <c:pt idx="16">
                  <c:v>41234</c:v>
                </c:pt>
                <c:pt idx="17">
                  <c:v>41235</c:v>
                </c:pt>
                <c:pt idx="18">
                  <c:v>41236</c:v>
                </c:pt>
                <c:pt idx="19">
                  <c:v>41239</c:v>
                </c:pt>
                <c:pt idx="20">
                  <c:v>41240</c:v>
                </c:pt>
                <c:pt idx="21">
                  <c:v>41241</c:v>
                </c:pt>
                <c:pt idx="22">
                  <c:v>41242</c:v>
                </c:pt>
                <c:pt idx="23">
                  <c:v>41243</c:v>
                </c:pt>
                <c:pt idx="24">
                  <c:v>41246</c:v>
                </c:pt>
                <c:pt idx="25">
                  <c:v>41247</c:v>
                </c:pt>
                <c:pt idx="26">
                  <c:v>41249</c:v>
                </c:pt>
                <c:pt idx="27">
                  <c:v>41250</c:v>
                </c:pt>
                <c:pt idx="28">
                  <c:v>41254</c:v>
                </c:pt>
                <c:pt idx="29">
                  <c:v>41255</c:v>
                </c:pt>
                <c:pt idx="30">
                  <c:v>41256</c:v>
                </c:pt>
                <c:pt idx="31">
                  <c:v>41257</c:v>
                </c:pt>
                <c:pt idx="32">
                  <c:v>41260</c:v>
                </c:pt>
                <c:pt idx="33">
                  <c:v>41261</c:v>
                </c:pt>
                <c:pt idx="34">
                  <c:v>41262</c:v>
                </c:pt>
                <c:pt idx="35">
                  <c:v>41263</c:v>
                </c:pt>
                <c:pt idx="36">
                  <c:v>41264</c:v>
                </c:pt>
                <c:pt idx="37">
                  <c:v>41267</c:v>
                </c:pt>
                <c:pt idx="38">
                  <c:v>41268</c:v>
                </c:pt>
                <c:pt idx="39">
                  <c:v>41269</c:v>
                </c:pt>
                <c:pt idx="40">
                  <c:v>41270</c:v>
                </c:pt>
                <c:pt idx="41">
                  <c:v>41271</c:v>
                </c:pt>
                <c:pt idx="42">
                  <c:v>41276</c:v>
                </c:pt>
                <c:pt idx="43">
                  <c:v>41277</c:v>
                </c:pt>
                <c:pt idx="44">
                  <c:v>41278</c:v>
                </c:pt>
                <c:pt idx="45">
                  <c:v>41281</c:v>
                </c:pt>
                <c:pt idx="46">
                  <c:v>41282</c:v>
                </c:pt>
                <c:pt idx="47">
                  <c:v>41283</c:v>
                </c:pt>
                <c:pt idx="48">
                  <c:v>41284</c:v>
                </c:pt>
                <c:pt idx="49">
                  <c:v>41285</c:v>
                </c:pt>
                <c:pt idx="50">
                  <c:v>41288</c:v>
                </c:pt>
                <c:pt idx="51">
                  <c:v>41289</c:v>
                </c:pt>
                <c:pt idx="52">
                  <c:v>41290</c:v>
                </c:pt>
                <c:pt idx="53">
                  <c:v>41291</c:v>
                </c:pt>
                <c:pt idx="54">
                  <c:v>41292</c:v>
                </c:pt>
                <c:pt idx="55">
                  <c:v>41295</c:v>
                </c:pt>
                <c:pt idx="56">
                  <c:v>41296</c:v>
                </c:pt>
                <c:pt idx="57">
                  <c:v>41297</c:v>
                </c:pt>
                <c:pt idx="58">
                  <c:v>41298</c:v>
                </c:pt>
                <c:pt idx="59">
                  <c:v>41299</c:v>
                </c:pt>
                <c:pt idx="60">
                  <c:v>41302</c:v>
                </c:pt>
                <c:pt idx="61">
                  <c:v>41303</c:v>
                </c:pt>
                <c:pt idx="62">
                  <c:v>41304</c:v>
                </c:pt>
                <c:pt idx="63">
                  <c:v>41305</c:v>
                </c:pt>
                <c:pt idx="64">
                  <c:v>41306</c:v>
                </c:pt>
                <c:pt idx="65">
                  <c:v>41309</c:v>
                </c:pt>
                <c:pt idx="66">
                  <c:v>41310</c:v>
                </c:pt>
                <c:pt idx="67">
                  <c:v>41311</c:v>
                </c:pt>
                <c:pt idx="68">
                  <c:v>41312</c:v>
                </c:pt>
                <c:pt idx="69">
                  <c:v>41313</c:v>
                </c:pt>
                <c:pt idx="70">
                  <c:v>41316</c:v>
                </c:pt>
                <c:pt idx="71">
                  <c:v>41317</c:v>
                </c:pt>
                <c:pt idx="72">
                  <c:v>41318</c:v>
                </c:pt>
                <c:pt idx="73">
                  <c:v>41319</c:v>
                </c:pt>
                <c:pt idx="74">
                  <c:v>41320</c:v>
                </c:pt>
                <c:pt idx="75">
                  <c:v>41323</c:v>
                </c:pt>
                <c:pt idx="76">
                  <c:v>41324</c:v>
                </c:pt>
                <c:pt idx="77">
                  <c:v>41325</c:v>
                </c:pt>
                <c:pt idx="78">
                  <c:v>41326</c:v>
                </c:pt>
                <c:pt idx="79">
                  <c:v>41327</c:v>
                </c:pt>
                <c:pt idx="80">
                  <c:v>41331</c:v>
                </c:pt>
                <c:pt idx="81">
                  <c:v>41332</c:v>
                </c:pt>
                <c:pt idx="82">
                  <c:v>41333</c:v>
                </c:pt>
                <c:pt idx="83">
                  <c:v>41334</c:v>
                </c:pt>
                <c:pt idx="84">
                  <c:v>41337</c:v>
                </c:pt>
                <c:pt idx="85">
                  <c:v>41338</c:v>
                </c:pt>
                <c:pt idx="86">
                  <c:v>41339</c:v>
                </c:pt>
                <c:pt idx="87">
                  <c:v>41340</c:v>
                </c:pt>
                <c:pt idx="88">
                  <c:v>41341</c:v>
                </c:pt>
                <c:pt idx="89">
                  <c:v>41344</c:v>
                </c:pt>
                <c:pt idx="90">
                  <c:v>41345</c:v>
                </c:pt>
                <c:pt idx="91">
                  <c:v>41346</c:v>
                </c:pt>
                <c:pt idx="92">
                  <c:v>41347</c:v>
                </c:pt>
                <c:pt idx="93">
                  <c:v>41348</c:v>
                </c:pt>
                <c:pt idx="94">
                  <c:v>41351</c:v>
                </c:pt>
                <c:pt idx="95">
                  <c:v>41352</c:v>
                </c:pt>
                <c:pt idx="96">
                  <c:v>41353</c:v>
                </c:pt>
                <c:pt idx="97">
                  <c:v>41354</c:v>
                </c:pt>
                <c:pt idx="98">
                  <c:v>41355</c:v>
                </c:pt>
                <c:pt idx="99">
                  <c:v>41358</c:v>
                </c:pt>
                <c:pt idx="100">
                  <c:v>41359</c:v>
                </c:pt>
                <c:pt idx="101">
                  <c:v>41360</c:v>
                </c:pt>
                <c:pt idx="102">
                  <c:v>41361</c:v>
                </c:pt>
                <c:pt idx="103">
                  <c:v>41364</c:v>
                </c:pt>
                <c:pt idx="104">
                  <c:v>41365</c:v>
                </c:pt>
                <c:pt idx="105">
                  <c:v>41366</c:v>
                </c:pt>
                <c:pt idx="106">
                  <c:v>41367</c:v>
                </c:pt>
                <c:pt idx="107">
                  <c:v>41368</c:v>
                </c:pt>
                <c:pt idx="108">
                  <c:v>41369</c:v>
                </c:pt>
                <c:pt idx="109">
                  <c:v>41373</c:v>
                </c:pt>
                <c:pt idx="110">
                  <c:v>41374</c:v>
                </c:pt>
                <c:pt idx="111">
                  <c:v>41375</c:v>
                </c:pt>
                <c:pt idx="112">
                  <c:v>41376</c:v>
                </c:pt>
                <c:pt idx="113">
                  <c:v>41381</c:v>
                </c:pt>
                <c:pt idx="114">
                  <c:v>41382</c:v>
                </c:pt>
                <c:pt idx="115">
                  <c:v>41383</c:v>
                </c:pt>
                <c:pt idx="116">
                  <c:v>41386</c:v>
                </c:pt>
                <c:pt idx="117">
                  <c:v>41387</c:v>
                </c:pt>
                <c:pt idx="118">
                  <c:v>41388</c:v>
                </c:pt>
                <c:pt idx="119">
                  <c:v>41389</c:v>
                </c:pt>
                <c:pt idx="120">
                  <c:v>41390</c:v>
                </c:pt>
                <c:pt idx="121">
                  <c:v>41393</c:v>
                </c:pt>
                <c:pt idx="122">
                  <c:v>41394</c:v>
                </c:pt>
                <c:pt idx="123">
                  <c:v>41396</c:v>
                </c:pt>
                <c:pt idx="124">
                  <c:v>41397</c:v>
                </c:pt>
                <c:pt idx="125">
                  <c:v>41401</c:v>
                </c:pt>
                <c:pt idx="126">
                  <c:v>41402</c:v>
                </c:pt>
                <c:pt idx="127">
                  <c:v>41403</c:v>
                </c:pt>
                <c:pt idx="128">
                  <c:v>41404</c:v>
                </c:pt>
                <c:pt idx="129">
                  <c:v>41407</c:v>
                </c:pt>
                <c:pt idx="130">
                  <c:v>41408</c:v>
                </c:pt>
                <c:pt idx="131">
                  <c:v>41409</c:v>
                </c:pt>
                <c:pt idx="132">
                  <c:v>41410</c:v>
                </c:pt>
                <c:pt idx="133">
                  <c:v>41411</c:v>
                </c:pt>
                <c:pt idx="134">
                  <c:v>41414</c:v>
                </c:pt>
                <c:pt idx="135">
                  <c:v>41415</c:v>
                </c:pt>
                <c:pt idx="136">
                  <c:v>41416</c:v>
                </c:pt>
                <c:pt idx="137">
                  <c:v>41417</c:v>
                </c:pt>
                <c:pt idx="138">
                  <c:v>41421</c:v>
                </c:pt>
                <c:pt idx="139">
                  <c:v>41422</c:v>
                </c:pt>
                <c:pt idx="140">
                  <c:v>41423</c:v>
                </c:pt>
                <c:pt idx="141">
                  <c:v>41424</c:v>
                </c:pt>
                <c:pt idx="142">
                  <c:v>41425</c:v>
                </c:pt>
                <c:pt idx="143">
                  <c:v>41428</c:v>
                </c:pt>
                <c:pt idx="144">
                  <c:v>41429</c:v>
                </c:pt>
                <c:pt idx="145">
                  <c:v>41430</c:v>
                </c:pt>
                <c:pt idx="146">
                  <c:v>41431</c:v>
                </c:pt>
                <c:pt idx="147">
                  <c:v>41432</c:v>
                </c:pt>
                <c:pt idx="148">
                  <c:v>41435</c:v>
                </c:pt>
                <c:pt idx="149">
                  <c:v>41436</c:v>
                </c:pt>
                <c:pt idx="150">
                  <c:v>41437</c:v>
                </c:pt>
                <c:pt idx="151">
                  <c:v>41438</c:v>
                </c:pt>
                <c:pt idx="152">
                  <c:v>41439</c:v>
                </c:pt>
                <c:pt idx="153">
                  <c:v>41442</c:v>
                </c:pt>
                <c:pt idx="154">
                  <c:v>41443</c:v>
                </c:pt>
                <c:pt idx="155">
                  <c:v>41444</c:v>
                </c:pt>
                <c:pt idx="156">
                  <c:v>41445</c:v>
                </c:pt>
                <c:pt idx="157">
                  <c:v>41446</c:v>
                </c:pt>
                <c:pt idx="158">
                  <c:v>41449</c:v>
                </c:pt>
                <c:pt idx="159">
                  <c:v>41450</c:v>
                </c:pt>
                <c:pt idx="160">
                  <c:v>41451</c:v>
                </c:pt>
                <c:pt idx="161">
                  <c:v>41452</c:v>
                </c:pt>
                <c:pt idx="162">
                  <c:v>41453</c:v>
                </c:pt>
                <c:pt idx="163">
                  <c:v>41457</c:v>
                </c:pt>
                <c:pt idx="164">
                  <c:v>41458</c:v>
                </c:pt>
                <c:pt idx="165">
                  <c:v>41459</c:v>
                </c:pt>
                <c:pt idx="166">
                  <c:v>41460</c:v>
                </c:pt>
                <c:pt idx="167">
                  <c:v>41463</c:v>
                </c:pt>
                <c:pt idx="168">
                  <c:v>41464</c:v>
                </c:pt>
                <c:pt idx="169">
                  <c:v>41465</c:v>
                </c:pt>
                <c:pt idx="170">
                  <c:v>41466</c:v>
                </c:pt>
                <c:pt idx="171">
                  <c:v>41467</c:v>
                </c:pt>
                <c:pt idx="172">
                  <c:v>41470</c:v>
                </c:pt>
                <c:pt idx="173">
                  <c:v>41471</c:v>
                </c:pt>
                <c:pt idx="174">
                  <c:v>41472</c:v>
                </c:pt>
                <c:pt idx="175">
                  <c:v>41473</c:v>
                </c:pt>
                <c:pt idx="176">
                  <c:v>41474</c:v>
                </c:pt>
                <c:pt idx="177">
                  <c:v>41478</c:v>
                </c:pt>
                <c:pt idx="178">
                  <c:v>41479</c:v>
                </c:pt>
                <c:pt idx="179">
                  <c:v>41480</c:v>
                </c:pt>
                <c:pt idx="180">
                  <c:v>41481</c:v>
                </c:pt>
                <c:pt idx="181">
                  <c:v>41484</c:v>
                </c:pt>
                <c:pt idx="182">
                  <c:v>41485</c:v>
                </c:pt>
                <c:pt idx="183">
                  <c:v>41486</c:v>
                </c:pt>
                <c:pt idx="184">
                  <c:v>41487</c:v>
                </c:pt>
                <c:pt idx="185">
                  <c:v>41488</c:v>
                </c:pt>
                <c:pt idx="186">
                  <c:v>41491</c:v>
                </c:pt>
                <c:pt idx="187">
                  <c:v>41492</c:v>
                </c:pt>
                <c:pt idx="188">
                  <c:v>41493</c:v>
                </c:pt>
                <c:pt idx="189">
                  <c:v>41494</c:v>
                </c:pt>
                <c:pt idx="190">
                  <c:v>41495</c:v>
                </c:pt>
                <c:pt idx="191">
                  <c:v>41498</c:v>
                </c:pt>
                <c:pt idx="192">
                  <c:v>41499</c:v>
                </c:pt>
                <c:pt idx="193">
                  <c:v>41500</c:v>
                </c:pt>
                <c:pt idx="194">
                  <c:v>41501</c:v>
                </c:pt>
                <c:pt idx="195">
                  <c:v>41502</c:v>
                </c:pt>
                <c:pt idx="196">
                  <c:v>41505</c:v>
                </c:pt>
                <c:pt idx="197">
                  <c:v>41506</c:v>
                </c:pt>
                <c:pt idx="198">
                  <c:v>41507</c:v>
                </c:pt>
                <c:pt idx="199">
                  <c:v>41508</c:v>
                </c:pt>
                <c:pt idx="200">
                  <c:v>41509</c:v>
                </c:pt>
                <c:pt idx="201">
                  <c:v>41512</c:v>
                </c:pt>
                <c:pt idx="202">
                  <c:v>41513</c:v>
                </c:pt>
                <c:pt idx="203">
                  <c:v>41514</c:v>
                </c:pt>
                <c:pt idx="204">
                  <c:v>41515</c:v>
                </c:pt>
                <c:pt idx="205">
                  <c:v>41516</c:v>
                </c:pt>
                <c:pt idx="206">
                  <c:v>41519</c:v>
                </c:pt>
                <c:pt idx="207">
                  <c:v>41520</c:v>
                </c:pt>
                <c:pt idx="208">
                  <c:v>41521</c:v>
                </c:pt>
                <c:pt idx="209">
                  <c:v>41522</c:v>
                </c:pt>
                <c:pt idx="210">
                  <c:v>41523</c:v>
                </c:pt>
                <c:pt idx="211">
                  <c:v>41526</c:v>
                </c:pt>
                <c:pt idx="212">
                  <c:v>41527</c:v>
                </c:pt>
                <c:pt idx="213">
                  <c:v>41528</c:v>
                </c:pt>
                <c:pt idx="214">
                  <c:v>41529</c:v>
                </c:pt>
                <c:pt idx="215">
                  <c:v>41530</c:v>
                </c:pt>
                <c:pt idx="216">
                  <c:v>41533</c:v>
                </c:pt>
                <c:pt idx="217">
                  <c:v>41534</c:v>
                </c:pt>
                <c:pt idx="218">
                  <c:v>41535</c:v>
                </c:pt>
                <c:pt idx="219">
                  <c:v>41536</c:v>
                </c:pt>
                <c:pt idx="220">
                  <c:v>41537</c:v>
                </c:pt>
                <c:pt idx="221">
                  <c:v>41540</c:v>
                </c:pt>
                <c:pt idx="222">
                  <c:v>41541</c:v>
                </c:pt>
                <c:pt idx="223">
                  <c:v>41542</c:v>
                </c:pt>
                <c:pt idx="224">
                  <c:v>41543</c:v>
                </c:pt>
                <c:pt idx="225">
                  <c:v>41544</c:v>
                </c:pt>
                <c:pt idx="226">
                  <c:v>41547</c:v>
                </c:pt>
                <c:pt idx="227">
                  <c:v>41548</c:v>
                </c:pt>
                <c:pt idx="228">
                  <c:v>41549</c:v>
                </c:pt>
                <c:pt idx="229">
                  <c:v>41550</c:v>
                </c:pt>
                <c:pt idx="230">
                  <c:v>41551</c:v>
                </c:pt>
                <c:pt idx="231">
                  <c:v>41554</c:v>
                </c:pt>
                <c:pt idx="232">
                  <c:v>41555</c:v>
                </c:pt>
                <c:pt idx="233">
                  <c:v>41556</c:v>
                </c:pt>
                <c:pt idx="234">
                  <c:v>41557</c:v>
                </c:pt>
                <c:pt idx="235">
                  <c:v>41558</c:v>
                </c:pt>
                <c:pt idx="236">
                  <c:v>41561</c:v>
                </c:pt>
                <c:pt idx="237">
                  <c:v>41562</c:v>
                </c:pt>
                <c:pt idx="238">
                  <c:v>41563</c:v>
                </c:pt>
                <c:pt idx="239">
                  <c:v>41564</c:v>
                </c:pt>
                <c:pt idx="240">
                  <c:v>41565</c:v>
                </c:pt>
                <c:pt idx="241">
                  <c:v>41568</c:v>
                </c:pt>
                <c:pt idx="242">
                  <c:v>41569</c:v>
                </c:pt>
                <c:pt idx="243">
                  <c:v>41571</c:v>
                </c:pt>
                <c:pt idx="244">
                  <c:v>41572</c:v>
                </c:pt>
                <c:pt idx="245">
                  <c:v>41575</c:v>
                </c:pt>
                <c:pt idx="246">
                  <c:v>41576</c:v>
                </c:pt>
                <c:pt idx="247">
                  <c:v>41577</c:v>
                </c:pt>
                <c:pt idx="248">
                  <c:v>41578</c:v>
                </c:pt>
                <c:pt idx="249">
                  <c:v>41579</c:v>
                </c:pt>
                <c:pt idx="250">
                  <c:v>41582</c:v>
                </c:pt>
                <c:pt idx="251">
                  <c:v>41583</c:v>
                </c:pt>
                <c:pt idx="252">
                  <c:v>41584</c:v>
                </c:pt>
                <c:pt idx="253">
                  <c:v>41585</c:v>
                </c:pt>
                <c:pt idx="254">
                  <c:v>41586</c:v>
                </c:pt>
                <c:pt idx="255">
                  <c:v>41589</c:v>
                </c:pt>
                <c:pt idx="256">
                  <c:v>41590</c:v>
                </c:pt>
                <c:pt idx="257">
                  <c:v>41591</c:v>
                </c:pt>
                <c:pt idx="258">
                  <c:v>41592</c:v>
                </c:pt>
                <c:pt idx="259">
                  <c:v>41593</c:v>
                </c:pt>
                <c:pt idx="260">
                  <c:v>41596</c:v>
                </c:pt>
                <c:pt idx="261">
                  <c:v>41597</c:v>
                </c:pt>
                <c:pt idx="262">
                  <c:v>41598</c:v>
                </c:pt>
                <c:pt idx="263">
                  <c:v>41599</c:v>
                </c:pt>
                <c:pt idx="264">
                  <c:v>41600</c:v>
                </c:pt>
                <c:pt idx="265">
                  <c:v>41603</c:v>
                </c:pt>
                <c:pt idx="266">
                  <c:v>41604</c:v>
                </c:pt>
                <c:pt idx="267">
                  <c:v>41605</c:v>
                </c:pt>
                <c:pt idx="268">
                  <c:v>41606</c:v>
                </c:pt>
                <c:pt idx="269">
                  <c:v>41607</c:v>
                </c:pt>
                <c:pt idx="270">
                  <c:v>41610</c:v>
                </c:pt>
                <c:pt idx="271">
                  <c:v>41611</c:v>
                </c:pt>
                <c:pt idx="272">
                  <c:v>41612</c:v>
                </c:pt>
                <c:pt idx="273">
                  <c:v>41614</c:v>
                </c:pt>
                <c:pt idx="274">
                  <c:v>41617</c:v>
                </c:pt>
                <c:pt idx="275">
                  <c:v>41619</c:v>
                </c:pt>
                <c:pt idx="276">
                  <c:v>41620</c:v>
                </c:pt>
                <c:pt idx="277">
                  <c:v>41621</c:v>
                </c:pt>
                <c:pt idx="278">
                  <c:v>41624</c:v>
                </c:pt>
                <c:pt idx="279">
                  <c:v>41625</c:v>
                </c:pt>
                <c:pt idx="280">
                  <c:v>41626</c:v>
                </c:pt>
                <c:pt idx="281">
                  <c:v>41627</c:v>
                </c:pt>
                <c:pt idx="282">
                  <c:v>41628</c:v>
                </c:pt>
                <c:pt idx="283">
                  <c:v>41631</c:v>
                </c:pt>
                <c:pt idx="284">
                  <c:v>41632</c:v>
                </c:pt>
                <c:pt idx="285">
                  <c:v>41633</c:v>
                </c:pt>
                <c:pt idx="286">
                  <c:v>41634</c:v>
                </c:pt>
                <c:pt idx="287">
                  <c:v>41635</c:v>
                </c:pt>
                <c:pt idx="288">
                  <c:v>41641</c:v>
                </c:pt>
                <c:pt idx="289">
                  <c:v>41642</c:v>
                </c:pt>
                <c:pt idx="290">
                  <c:v>41645</c:v>
                </c:pt>
                <c:pt idx="291">
                  <c:v>41646</c:v>
                </c:pt>
                <c:pt idx="292">
                  <c:v>41647</c:v>
                </c:pt>
                <c:pt idx="293">
                  <c:v>41648</c:v>
                </c:pt>
                <c:pt idx="294">
                  <c:v>41649</c:v>
                </c:pt>
                <c:pt idx="295">
                  <c:v>41652</c:v>
                </c:pt>
                <c:pt idx="296">
                  <c:v>41653</c:v>
                </c:pt>
                <c:pt idx="297">
                  <c:v>41654</c:v>
                </c:pt>
                <c:pt idx="298">
                  <c:v>41655</c:v>
                </c:pt>
                <c:pt idx="299">
                  <c:v>41656</c:v>
                </c:pt>
                <c:pt idx="300">
                  <c:v>41659</c:v>
                </c:pt>
                <c:pt idx="301">
                  <c:v>41660</c:v>
                </c:pt>
                <c:pt idx="302">
                  <c:v>41661</c:v>
                </c:pt>
                <c:pt idx="303">
                  <c:v>41662</c:v>
                </c:pt>
                <c:pt idx="304">
                  <c:v>41663</c:v>
                </c:pt>
                <c:pt idx="305">
                  <c:v>41666</c:v>
                </c:pt>
                <c:pt idx="306">
                  <c:v>41667</c:v>
                </c:pt>
                <c:pt idx="307">
                  <c:v>41668</c:v>
                </c:pt>
                <c:pt idx="308">
                  <c:v>41669</c:v>
                </c:pt>
                <c:pt idx="309">
                  <c:v>41670</c:v>
                </c:pt>
                <c:pt idx="310">
                  <c:v>41673</c:v>
                </c:pt>
                <c:pt idx="311">
                  <c:v>41674</c:v>
                </c:pt>
                <c:pt idx="312">
                  <c:v>41675</c:v>
                </c:pt>
                <c:pt idx="313">
                  <c:v>41676</c:v>
                </c:pt>
                <c:pt idx="314">
                  <c:v>41677</c:v>
                </c:pt>
                <c:pt idx="315">
                  <c:v>41680</c:v>
                </c:pt>
                <c:pt idx="316">
                  <c:v>41681</c:v>
                </c:pt>
                <c:pt idx="317">
                  <c:v>41682</c:v>
                </c:pt>
                <c:pt idx="318">
                  <c:v>41683</c:v>
                </c:pt>
                <c:pt idx="319">
                  <c:v>41687</c:v>
                </c:pt>
                <c:pt idx="320">
                  <c:v>41688</c:v>
                </c:pt>
                <c:pt idx="321">
                  <c:v>41689</c:v>
                </c:pt>
                <c:pt idx="322">
                  <c:v>41690</c:v>
                </c:pt>
                <c:pt idx="323">
                  <c:v>41691</c:v>
                </c:pt>
                <c:pt idx="324">
                  <c:v>41694</c:v>
                </c:pt>
                <c:pt idx="325">
                  <c:v>41695</c:v>
                </c:pt>
                <c:pt idx="326">
                  <c:v>41696</c:v>
                </c:pt>
                <c:pt idx="327">
                  <c:v>41697</c:v>
                </c:pt>
                <c:pt idx="328">
                  <c:v>41698</c:v>
                </c:pt>
                <c:pt idx="329">
                  <c:v>41701</c:v>
                </c:pt>
                <c:pt idx="330">
                  <c:v>41702</c:v>
                </c:pt>
                <c:pt idx="331">
                  <c:v>41703</c:v>
                </c:pt>
                <c:pt idx="332">
                  <c:v>41704</c:v>
                </c:pt>
                <c:pt idx="333">
                  <c:v>41705</c:v>
                </c:pt>
                <c:pt idx="334">
                  <c:v>41708</c:v>
                </c:pt>
                <c:pt idx="335">
                  <c:v>41709</c:v>
                </c:pt>
                <c:pt idx="336">
                  <c:v>41710</c:v>
                </c:pt>
                <c:pt idx="337">
                  <c:v>41711</c:v>
                </c:pt>
                <c:pt idx="338">
                  <c:v>41712</c:v>
                </c:pt>
                <c:pt idx="339">
                  <c:v>41715</c:v>
                </c:pt>
                <c:pt idx="340">
                  <c:v>41716</c:v>
                </c:pt>
                <c:pt idx="341">
                  <c:v>41717</c:v>
                </c:pt>
                <c:pt idx="342">
                  <c:v>41718</c:v>
                </c:pt>
                <c:pt idx="343">
                  <c:v>41719</c:v>
                </c:pt>
                <c:pt idx="344">
                  <c:v>41722</c:v>
                </c:pt>
                <c:pt idx="345">
                  <c:v>41723</c:v>
                </c:pt>
                <c:pt idx="346">
                  <c:v>41724</c:v>
                </c:pt>
                <c:pt idx="347">
                  <c:v>41725</c:v>
                </c:pt>
                <c:pt idx="348">
                  <c:v>41726</c:v>
                </c:pt>
                <c:pt idx="349">
                  <c:v>41729</c:v>
                </c:pt>
                <c:pt idx="350">
                  <c:v>41730</c:v>
                </c:pt>
                <c:pt idx="351">
                  <c:v>41731</c:v>
                </c:pt>
                <c:pt idx="352">
                  <c:v>41732</c:v>
                </c:pt>
                <c:pt idx="353">
                  <c:v>41733</c:v>
                </c:pt>
                <c:pt idx="354">
                  <c:v>41737</c:v>
                </c:pt>
                <c:pt idx="355">
                  <c:v>41738</c:v>
                </c:pt>
                <c:pt idx="356">
                  <c:v>41739</c:v>
                </c:pt>
                <c:pt idx="357">
                  <c:v>41740</c:v>
                </c:pt>
                <c:pt idx="358">
                  <c:v>41745</c:v>
                </c:pt>
                <c:pt idx="359">
                  <c:v>41746</c:v>
                </c:pt>
                <c:pt idx="360">
                  <c:v>41747</c:v>
                </c:pt>
                <c:pt idx="361">
                  <c:v>41750</c:v>
                </c:pt>
                <c:pt idx="362">
                  <c:v>41751</c:v>
                </c:pt>
                <c:pt idx="363">
                  <c:v>41752</c:v>
                </c:pt>
                <c:pt idx="364">
                  <c:v>41753</c:v>
                </c:pt>
                <c:pt idx="365">
                  <c:v>41754</c:v>
                </c:pt>
                <c:pt idx="366">
                  <c:v>41757</c:v>
                </c:pt>
                <c:pt idx="367">
                  <c:v>41758</c:v>
                </c:pt>
                <c:pt idx="368">
                  <c:v>41759</c:v>
                </c:pt>
                <c:pt idx="369">
                  <c:v>41761</c:v>
                </c:pt>
                <c:pt idx="370">
                  <c:v>41765</c:v>
                </c:pt>
                <c:pt idx="371">
                  <c:v>41766</c:v>
                </c:pt>
                <c:pt idx="372">
                  <c:v>41767</c:v>
                </c:pt>
                <c:pt idx="373">
                  <c:v>41768</c:v>
                </c:pt>
                <c:pt idx="374">
                  <c:v>41771</c:v>
                </c:pt>
                <c:pt idx="375">
                  <c:v>41773</c:v>
                </c:pt>
                <c:pt idx="376">
                  <c:v>41774</c:v>
                </c:pt>
                <c:pt idx="377">
                  <c:v>41775</c:v>
                </c:pt>
                <c:pt idx="378">
                  <c:v>41778</c:v>
                </c:pt>
                <c:pt idx="379">
                  <c:v>41779</c:v>
                </c:pt>
                <c:pt idx="380">
                  <c:v>41780</c:v>
                </c:pt>
                <c:pt idx="381">
                  <c:v>41781</c:v>
                </c:pt>
                <c:pt idx="382">
                  <c:v>41782</c:v>
                </c:pt>
                <c:pt idx="383">
                  <c:v>41785</c:v>
                </c:pt>
                <c:pt idx="384">
                  <c:v>41786</c:v>
                </c:pt>
                <c:pt idx="385">
                  <c:v>41787</c:v>
                </c:pt>
                <c:pt idx="386">
                  <c:v>41788</c:v>
                </c:pt>
                <c:pt idx="387">
                  <c:v>41789</c:v>
                </c:pt>
                <c:pt idx="388">
                  <c:v>41792</c:v>
                </c:pt>
                <c:pt idx="389">
                  <c:v>41793</c:v>
                </c:pt>
                <c:pt idx="390">
                  <c:v>41794</c:v>
                </c:pt>
                <c:pt idx="391">
                  <c:v>41795</c:v>
                </c:pt>
                <c:pt idx="392">
                  <c:v>41796</c:v>
                </c:pt>
                <c:pt idx="393">
                  <c:v>41799</c:v>
                </c:pt>
                <c:pt idx="394">
                  <c:v>41800</c:v>
                </c:pt>
                <c:pt idx="395">
                  <c:v>41801</c:v>
                </c:pt>
                <c:pt idx="396">
                  <c:v>41802</c:v>
                </c:pt>
                <c:pt idx="397">
                  <c:v>41803</c:v>
                </c:pt>
                <c:pt idx="398">
                  <c:v>41806</c:v>
                </c:pt>
                <c:pt idx="399">
                  <c:v>41807</c:v>
                </c:pt>
                <c:pt idx="400">
                  <c:v>41808</c:v>
                </c:pt>
                <c:pt idx="401">
                  <c:v>41809</c:v>
                </c:pt>
                <c:pt idx="402">
                  <c:v>41810</c:v>
                </c:pt>
                <c:pt idx="403">
                  <c:v>41813</c:v>
                </c:pt>
                <c:pt idx="404">
                  <c:v>41814</c:v>
                </c:pt>
                <c:pt idx="405">
                  <c:v>41815</c:v>
                </c:pt>
                <c:pt idx="406">
                  <c:v>41816</c:v>
                </c:pt>
                <c:pt idx="407">
                  <c:v>41817</c:v>
                </c:pt>
                <c:pt idx="408">
                  <c:v>41820</c:v>
                </c:pt>
                <c:pt idx="409">
                  <c:v>41822</c:v>
                </c:pt>
                <c:pt idx="410">
                  <c:v>41823</c:v>
                </c:pt>
                <c:pt idx="411">
                  <c:v>41824</c:v>
                </c:pt>
                <c:pt idx="412">
                  <c:v>41827</c:v>
                </c:pt>
                <c:pt idx="413">
                  <c:v>41828</c:v>
                </c:pt>
                <c:pt idx="414">
                  <c:v>41829</c:v>
                </c:pt>
                <c:pt idx="415">
                  <c:v>41830</c:v>
                </c:pt>
                <c:pt idx="416">
                  <c:v>41834</c:v>
                </c:pt>
                <c:pt idx="417">
                  <c:v>41835</c:v>
                </c:pt>
                <c:pt idx="418">
                  <c:v>41836</c:v>
                </c:pt>
                <c:pt idx="419">
                  <c:v>41837</c:v>
                </c:pt>
                <c:pt idx="420">
                  <c:v>41838</c:v>
                </c:pt>
                <c:pt idx="421">
                  <c:v>41841</c:v>
                </c:pt>
                <c:pt idx="422">
                  <c:v>41842</c:v>
                </c:pt>
                <c:pt idx="423">
                  <c:v>41843</c:v>
                </c:pt>
                <c:pt idx="424">
                  <c:v>41844</c:v>
                </c:pt>
                <c:pt idx="425">
                  <c:v>41845</c:v>
                </c:pt>
                <c:pt idx="426">
                  <c:v>41848</c:v>
                </c:pt>
                <c:pt idx="427">
                  <c:v>41849</c:v>
                </c:pt>
                <c:pt idx="428">
                  <c:v>41850</c:v>
                </c:pt>
                <c:pt idx="429">
                  <c:v>41851</c:v>
                </c:pt>
                <c:pt idx="430">
                  <c:v>41852</c:v>
                </c:pt>
                <c:pt idx="431">
                  <c:v>41855</c:v>
                </c:pt>
                <c:pt idx="432">
                  <c:v>41856</c:v>
                </c:pt>
                <c:pt idx="433">
                  <c:v>41857</c:v>
                </c:pt>
                <c:pt idx="434">
                  <c:v>41858</c:v>
                </c:pt>
                <c:pt idx="435">
                  <c:v>41859</c:v>
                </c:pt>
                <c:pt idx="436">
                  <c:v>41864</c:v>
                </c:pt>
                <c:pt idx="437">
                  <c:v>41865</c:v>
                </c:pt>
                <c:pt idx="438">
                  <c:v>41866</c:v>
                </c:pt>
                <c:pt idx="439">
                  <c:v>41869</c:v>
                </c:pt>
                <c:pt idx="440">
                  <c:v>41870</c:v>
                </c:pt>
                <c:pt idx="441">
                  <c:v>41871</c:v>
                </c:pt>
                <c:pt idx="442">
                  <c:v>41872</c:v>
                </c:pt>
                <c:pt idx="443">
                  <c:v>41873</c:v>
                </c:pt>
                <c:pt idx="444">
                  <c:v>41876</c:v>
                </c:pt>
                <c:pt idx="445">
                  <c:v>41877</c:v>
                </c:pt>
                <c:pt idx="446">
                  <c:v>41878</c:v>
                </c:pt>
                <c:pt idx="447">
                  <c:v>41879</c:v>
                </c:pt>
                <c:pt idx="448">
                  <c:v>41880</c:v>
                </c:pt>
                <c:pt idx="449">
                  <c:v>41883</c:v>
                </c:pt>
                <c:pt idx="450">
                  <c:v>41884</c:v>
                </c:pt>
                <c:pt idx="451">
                  <c:v>41885</c:v>
                </c:pt>
                <c:pt idx="452">
                  <c:v>41886</c:v>
                </c:pt>
                <c:pt idx="453">
                  <c:v>41887</c:v>
                </c:pt>
                <c:pt idx="454">
                  <c:v>41890</c:v>
                </c:pt>
                <c:pt idx="455">
                  <c:v>41891</c:v>
                </c:pt>
                <c:pt idx="456">
                  <c:v>41892</c:v>
                </c:pt>
                <c:pt idx="457">
                  <c:v>41893</c:v>
                </c:pt>
                <c:pt idx="458">
                  <c:v>41894</c:v>
                </c:pt>
                <c:pt idx="459">
                  <c:v>41897</c:v>
                </c:pt>
                <c:pt idx="460">
                  <c:v>41898</c:v>
                </c:pt>
                <c:pt idx="461">
                  <c:v>41899</c:v>
                </c:pt>
                <c:pt idx="462">
                  <c:v>41900</c:v>
                </c:pt>
                <c:pt idx="463">
                  <c:v>41901</c:v>
                </c:pt>
                <c:pt idx="464">
                  <c:v>41904</c:v>
                </c:pt>
                <c:pt idx="465">
                  <c:v>41905</c:v>
                </c:pt>
                <c:pt idx="466">
                  <c:v>41906</c:v>
                </c:pt>
                <c:pt idx="467">
                  <c:v>41907</c:v>
                </c:pt>
                <c:pt idx="468">
                  <c:v>41908</c:v>
                </c:pt>
                <c:pt idx="469">
                  <c:v>41911</c:v>
                </c:pt>
                <c:pt idx="470">
                  <c:v>41912</c:v>
                </c:pt>
                <c:pt idx="471">
                  <c:v>41913</c:v>
                </c:pt>
                <c:pt idx="472">
                  <c:v>41914</c:v>
                </c:pt>
                <c:pt idx="473">
                  <c:v>41915</c:v>
                </c:pt>
                <c:pt idx="474">
                  <c:v>41918</c:v>
                </c:pt>
                <c:pt idx="475">
                  <c:v>41919</c:v>
                </c:pt>
                <c:pt idx="476">
                  <c:v>41920</c:v>
                </c:pt>
                <c:pt idx="477">
                  <c:v>41921</c:v>
                </c:pt>
                <c:pt idx="478">
                  <c:v>41922</c:v>
                </c:pt>
                <c:pt idx="479">
                  <c:v>41925</c:v>
                </c:pt>
                <c:pt idx="480">
                  <c:v>41926</c:v>
                </c:pt>
                <c:pt idx="481">
                  <c:v>41927</c:v>
                </c:pt>
                <c:pt idx="482">
                  <c:v>41928</c:v>
                </c:pt>
                <c:pt idx="483">
                  <c:v>41929</c:v>
                </c:pt>
                <c:pt idx="484">
                  <c:v>41932</c:v>
                </c:pt>
                <c:pt idx="485">
                  <c:v>41933</c:v>
                </c:pt>
                <c:pt idx="486">
                  <c:v>41934</c:v>
                </c:pt>
                <c:pt idx="487">
                  <c:v>41936</c:v>
                </c:pt>
                <c:pt idx="488">
                  <c:v>41939</c:v>
                </c:pt>
                <c:pt idx="489">
                  <c:v>41940</c:v>
                </c:pt>
                <c:pt idx="490">
                  <c:v>41941</c:v>
                </c:pt>
                <c:pt idx="491">
                  <c:v>41942</c:v>
                </c:pt>
                <c:pt idx="492">
                  <c:v>41943</c:v>
                </c:pt>
                <c:pt idx="493">
                  <c:v>41946</c:v>
                </c:pt>
                <c:pt idx="494">
                  <c:v>41947</c:v>
                </c:pt>
                <c:pt idx="495">
                  <c:v>41948</c:v>
                </c:pt>
                <c:pt idx="496">
                  <c:v>41949</c:v>
                </c:pt>
                <c:pt idx="497">
                  <c:v>41950</c:v>
                </c:pt>
                <c:pt idx="498">
                  <c:v>41953</c:v>
                </c:pt>
                <c:pt idx="499">
                  <c:v>41954</c:v>
                </c:pt>
                <c:pt idx="500">
                  <c:v>41955</c:v>
                </c:pt>
                <c:pt idx="501">
                  <c:v>41956</c:v>
                </c:pt>
                <c:pt idx="502">
                  <c:v>41957</c:v>
                </c:pt>
                <c:pt idx="503">
                  <c:v>41960</c:v>
                </c:pt>
                <c:pt idx="504">
                  <c:v>41961</c:v>
                </c:pt>
                <c:pt idx="505">
                  <c:v>41962</c:v>
                </c:pt>
                <c:pt idx="506">
                  <c:v>41963</c:v>
                </c:pt>
                <c:pt idx="507">
                  <c:v>41964</c:v>
                </c:pt>
                <c:pt idx="508">
                  <c:v>41967</c:v>
                </c:pt>
                <c:pt idx="509">
                  <c:v>41968</c:v>
                </c:pt>
                <c:pt idx="510">
                  <c:v>41969</c:v>
                </c:pt>
                <c:pt idx="511">
                  <c:v>41970</c:v>
                </c:pt>
                <c:pt idx="512">
                  <c:v>41971</c:v>
                </c:pt>
                <c:pt idx="513">
                  <c:v>41974</c:v>
                </c:pt>
                <c:pt idx="514">
                  <c:v>41975</c:v>
                </c:pt>
                <c:pt idx="515">
                  <c:v>41976</c:v>
                </c:pt>
                <c:pt idx="516">
                  <c:v>41977</c:v>
                </c:pt>
                <c:pt idx="517">
                  <c:v>41981</c:v>
                </c:pt>
                <c:pt idx="518">
                  <c:v>41982</c:v>
                </c:pt>
                <c:pt idx="519">
                  <c:v>41984</c:v>
                </c:pt>
                <c:pt idx="520">
                  <c:v>41985</c:v>
                </c:pt>
                <c:pt idx="521">
                  <c:v>41988</c:v>
                </c:pt>
                <c:pt idx="522">
                  <c:v>41989</c:v>
                </c:pt>
                <c:pt idx="523">
                  <c:v>41990</c:v>
                </c:pt>
                <c:pt idx="524">
                  <c:v>41991</c:v>
                </c:pt>
                <c:pt idx="525">
                  <c:v>41992</c:v>
                </c:pt>
                <c:pt idx="526">
                  <c:v>41995</c:v>
                </c:pt>
                <c:pt idx="527">
                  <c:v>41996</c:v>
                </c:pt>
                <c:pt idx="528">
                  <c:v>41997</c:v>
                </c:pt>
                <c:pt idx="529">
                  <c:v>41998</c:v>
                </c:pt>
                <c:pt idx="530">
                  <c:v>41999</c:v>
                </c:pt>
                <c:pt idx="531">
                  <c:v>42002</c:v>
                </c:pt>
                <c:pt idx="532">
                  <c:v>42003</c:v>
                </c:pt>
                <c:pt idx="533">
                  <c:v>42009</c:v>
                </c:pt>
                <c:pt idx="534">
                  <c:v>42010</c:v>
                </c:pt>
                <c:pt idx="535">
                  <c:v>42011</c:v>
                </c:pt>
                <c:pt idx="536">
                  <c:v>42012</c:v>
                </c:pt>
                <c:pt idx="537">
                  <c:v>42013</c:v>
                </c:pt>
                <c:pt idx="538">
                  <c:v>42016</c:v>
                </c:pt>
                <c:pt idx="539">
                  <c:v>42017</c:v>
                </c:pt>
                <c:pt idx="540">
                  <c:v>42018</c:v>
                </c:pt>
                <c:pt idx="541">
                  <c:v>42019</c:v>
                </c:pt>
                <c:pt idx="542">
                  <c:v>42020</c:v>
                </c:pt>
                <c:pt idx="543">
                  <c:v>42023</c:v>
                </c:pt>
                <c:pt idx="544">
                  <c:v>42024</c:v>
                </c:pt>
                <c:pt idx="545">
                  <c:v>42025</c:v>
                </c:pt>
                <c:pt idx="546">
                  <c:v>42026</c:v>
                </c:pt>
                <c:pt idx="547">
                  <c:v>42027</c:v>
                </c:pt>
                <c:pt idx="548">
                  <c:v>42030</c:v>
                </c:pt>
                <c:pt idx="549">
                  <c:v>42031</c:v>
                </c:pt>
                <c:pt idx="550">
                  <c:v>42032</c:v>
                </c:pt>
                <c:pt idx="551">
                  <c:v>42033</c:v>
                </c:pt>
                <c:pt idx="552">
                  <c:v>42035</c:v>
                </c:pt>
                <c:pt idx="553">
                  <c:v>42037</c:v>
                </c:pt>
                <c:pt idx="554">
                  <c:v>42038</c:v>
                </c:pt>
                <c:pt idx="555">
                  <c:v>42039</c:v>
                </c:pt>
                <c:pt idx="556">
                  <c:v>42040</c:v>
                </c:pt>
                <c:pt idx="557">
                  <c:v>42045</c:v>
                </c:pt>
                <c:pt idx="558">
                  <c:v>42046</c:v>
                </c:pt>
                <c:pt idx="559">
                  <c:v>42047</c:v>
                </c:pt>
                <c:pt idx="560">
                  <c:v>42048</c:v>
                </c:pt>
                <c:pt idx="561">
                  <c:v>42051</c:v>
                </c:pt>
                <c:pt idx="562">
                  <c:v>42052</c:v>
                </c:pt>
                <c:pt idx="563">
                  <c:v>42053</c:v>
                </c:pt>
                <c:pt idx="564">
                  <c:v>42054</c:v>
                </c:pt>
                <c:pt idx="565">
                  <c:v>42055</c:v>
                </c:pt>
                <c:pt idx="566">
                  <c:v>42058</c:v>
                </c:pt>
                <c:pt idx="567">
                  <c:v>42059</c:v>
                </c:pt>
                <c:pt idx="568">
                  <c:v>42060</c:v>
                </c:pt>
                <c:pt idx="569">
                  <c:v>42061</c:v>
                </c:pt>
                <c:pt idx="570">
                  <c:v>42062</c:v>
                </c:pt>
                <c:pt idx="571">
                  <c:v>42065</c:v>
                </c:pt>
                <c:pt idx="572">
                  <c:v>42066</c:v>
                </c:pt>
                <c:pt idx="573">
                  <c:v>42068</c:v>
                </c:pt>
                <c:pt idx="574">
                  <c:v>42069</c:v>
                </c:pt>
                <c:pt idx="575">
                  <c:v>42072</c:v>
                </c:pt>
                <c:pt idx="576">
                  <c:v>42073</c:v>
                </c:pt>
                <c:pt idx="577">
                  <c:v>42074</c:v>
                </c:pt>
                <c:pt idx="578">
                  <c:v>42075</c:v>
                </c:pt>
                <c:pt idx="579">
                  <c:v>42076</c:v>
                </c:pt>
                <c:pt idx="580">
                  <c:v>42079</c:v>
                </c:pt>
                <c:pt idx="581">
                  <c:v>42080</c:v>
                </c:pt>
                <c:pt idx="582">
                  <c:v>42081</c:v>
                </c:pt>
                <c:pt idx="583">
                  <c:v>42082</c:v>
                </c:pt>
                <c:pt idx="584">
                  <c:v>42083</c:v>
                </c:pt>
                <c:pt idx="585">
                  <c:v>42086</c:v>
                </c:pt>
                <c:pt idx="586">
                  <c:v>42087</c:v>
                </c:pt>
                <c:pt idx="587">
                  <c:v>42088</c:v>
                </c:pt>
                <c:pt idx="588">
                  <c:v>42089</c:v>
                </c:pt>
                <c:pt idx="589">
                  <c:v>42090</c:v>
                </c:pt>
                <c:pt idx="590">
                  <c:v>42093</c:v>
                </c:pt>
                <c:pt idx="591">
                  <c:v>42094</c:v>
                </c:pt>
                <c:pt idx="592">
                  <c:v>42095</c:v>
                </c:pt>
                <c:pt idx="593">
                  <c:v>42096</c:v>
                </c:pt>
                <c:pt idx="594">
                  <c:v>42097</c:v>
                </c:pt>
                <c:pt idx="595">
                  <c:v>42101</c:v>
                </c:pt>
                <c:pt idx="596">
                  <c:v>42102</c:v>
                </c:pt>
                <c:pt idx="597">
                  <c:v>42103</c:v>
                </c:pt>
                <c:pt idx="598">
                  <c:v>42104</c:v>
                </c:pt>
                <c:pt idx="599">
                  <c:v>42110</c:v>
                </c:pt>
                <c:pt idx="600">
                  <c:v>42111</c:v>
                </c:pt>
                <c:pt idx="601">
                  <c:v>42114</c:v>
                </c:pt>
                <c:pt idx="602">
                  <c:v>42115</c:v>
                </c:pt>
                <c:pt idx="603">
                  <c:v>42116</c:v>
                </c:pt>
                <c:pt idx="604">
                  <c:v>42117</c:v>
                </c:pt>
                <c:pt idx="605">
                  <c:v>42118</c:v>
                </c:pt>
                <c:pt idx="606">
                  <c:v>42121</c:v>
                </c:pt>
                <c:pt idx="607">
                  <c:v>42122</c:v>
                </c:pt>
                <c:pt idx="608">
                  <c:v>42123</c:v>
                </c:pt>
                <c:pt idx="609">
                  <c:v>42124</c:v>
                </c:pt>
                <c:pt idx="610">
                  <c:v>42130</c:v>
                </c:pt>
                <c:pt idx="611">
                  <c:v>42131</c:v>
                </c:pt>
                <c:pt idx="612">
                  <c:v>42132</c:v>
                </c:pt>
                <c:pt idx="613">
                  <c:v>42135</c:v>
                </c:pt>
                <c:pt idx="614">
                  <c:v>42136</c:v>
                </c:pt>
                <c:pt idx="615">
                  <c:v>42137</c:v>
                </c:pt>
                <c:pt idx="616">
                  <c:v>42138</c:v>
                </c:pt>
                <c:pt idx="617">
                  <c:v>42139</c:v>
                </c:pt>
                <c:pt idx="618">
                  <c:v>42142</c:v>
                </c:pt>
                <c:pt idx="619">
                  <c:v>42143</c:v>
                </c:pt>
                <c:pt idx="620">
                  <c:v>42144</c:v>
                </c:pt>
                <c:pt idx="621">
                  <c:v>42145</c:v>
                </c:pt>
                <c:pt idx="622">
                  <c:v>42146</c:v>
                </c:pt>
                <c:pt idx="623">
                  <c:v>42149</c:v>
                </c:pt>
                <c:pt idx="624">
                  <c:v>42150</c:v>
                </c:pt>
                <c:pt idx="625">
                  <c:v>42151</c:v>
                </c:pt>
                <c:pt idx="626">
                  <c:v>42152</c:v>
                </c:pt>
                <c:pt idx="627">
                  <c:v>42153</c:v>
                </c:pt>
                <c:pt idx="628">
                  <c:v>42157</c:v>
                </c:pt>
                <c:pt idx="629">
                  <c:v>42158</c:v>
                </c:pt>
                <c:pt idx="630">
                  <c:v>42159</c:v>
                </c:pt>
                <c:pt idx="631">
                  <c:v>42160</c:v>
                </c:pt>
                <c:pt idx="632">
                  <c:v>42163</c:v>
                </c:pt>
                <c:pt idx="633">
                  <c:v>42164</c:v>
                </c:pt>
                <c:pt idx="634">
                  <c:v>42165</c:v>
                </c:pt>
                <c:pt idx="635">
                  <c:v>42166</c:v>
                </c:pt>
                <c:pt idx="636">
                  <c:v>42167</c:v>
                </c:pt>
                <c:pt idx="637">
                  <c:v>42170</c:v>
                </c:pt>
                <c:pt idx="638">
                  <c:v>42171</c:v>
                </c:pt>
                <c:pt idx="639">
                  <c:v>42172</c:v>
                </c:pt>
                <c:pt idx="640">
                  <c:v>42173</c:v>
                </c:pt>
                <c:pt idx="641">
                  <c:v>42174</c:v>
                </c:pt>
                <c:pt idx="642">
                  <c:v>42177</c:v>
                </c:pt>
                <c:pt idx="643">
                  <c:v>42178</c:v>
                </c:pt>
                <c:pt idx="644">
                  <c:v>42179</c:v>
                </c:pt>
                <c:pt idx="645">
                  <c:v>42180</c:v>
                </c:pt>
                <c:pt idx="646">
                  <c:v>42181</c:v>
                </c:pt>
                <c:pt idx="647">
                  <c:v>42184</c:v>
                </c:pt>
                <c:pt idx="648">
                  <c:v>42185</c:v>
                </c:pt>
                <c:pt idx="649">
                  <c:v>42187</c:v>
                </c:pt>
                <c:pt idx="650">
                  <c:v>42188</c:v>
                </c:pt>
                <c:pt idx="651">
                  <c:v>42191</c:v>
                </c:pt>
                <c:pt idx="652">
                  <c:v>42192</c:v>
                </c:pt>
                <c:pt idx="653">
                  <c:v>42193</c:v>
                </c:pt>
                <c:pt idx="654">
                  <c:v>42194</c:v>
                </c:pt>
                <c:pt idx="655">
                  <c:v>42195</c:v>
                </c:pt>
                <c:pt idx="656">
                  <c:v>42198</c:v>
                </c:pt>
                <c:pt idx="657">
                  <c:v>42199</c:v>
                </c:pt>
                <c:pt idx="658">
                  <c:v>42200</c:v>
                </c:pt>
                <c:pt idx="659">
                  <c:v>42201</c:v>
                </c:pt>
                <c:pt idx="660">
                  <c:v>42202</c:v>
                </c:pt>
                <c:pt idx="661">
                  <c:v>42205</c:v>
                </c:pt>
                <c:pt idx="662">
                  <c:v>42206</c:v>
                </c:pt>
                <c:pt idx="663">
                  <c:v>42207</c:v>
                </c:pt>
                <c:pt idx="664">
                  <c:v>42208</c:v>
                </c:pt>
                <c:pt idx="665">
                  <c:v>42209</c:v>
                </c:pt>
                <c:pt idx="666">
                  <c:v>42212</c:v>
                </c:pt>
                <c:pt idx="667">
                  <c:v>42213</c:v>
                </c:pt>
                <c:pt idx="668">
                  <c:v>42214</c:v>
                </c:pt>
                <c:pt idx="669">
                  <c:v>42216</c:v>
                </c:pt>
                <c:pt idx="670">
                  <c:v>42219</c:v>
                </c:pt>
                <c:pt idx="671">
                  <c:v>42220</c:v>
                </c:pt>
                <c:pt idx="672">
                  <c:v>42221</c:v>
                </c:pt>
                <c:pt idx="673">
                  <c:v>42222</c:v>
                </c:pt>
                <c:pt idx="674">
                  <c:v>42223</c:v>
                </c:pt>
                <c:pt idx="675">
                  <c:v>42226</c:v>
                </c:pt>
                <c:pt idx="676">
                  <c:v>42227</c:v>
                </c:pt>
                <c:pt idx="677">
                  <c:v>42229</c:v>
                </c:pt>
                <c:pt idx="678">
                  <c:v>42230</c:v>
                </c:pt>
                <c:pt idx="679">
                  <c:v>42233</c:v>
                </c:pt>
                <c:pt idx="680">
                  <c:v>42234</c:v>
                </c:pt>
                <c:pt idx="681">
                  <c:v>42235</c:v>
                </c:pt>
                <c:pt idx="682">
                  <c:v>42236</c:v>
                </c:pt>
                <c:pt idx="683">
                  <c:v>42237</c:v>
                </c:pt>
                <c:pt idx="684">
                  <c:v>42240</c:v>
                </c:pt>
                <c:pt idx="685">
                  <c:v>42241</c:v>
                </c:pt>
                <c:pt idx="686">
                  <c:v>42242</c:v>
                </c:pt>
                <c:pt idx="687">
                  <c:v>42243</c:v>
                </c:pt>
                <c:pt idx="688">
                  <c:v>42244</c:v>
                </c:pt>
                <c:pt idx="689">
                  <c:v>42247</c:v>
                </c:pt>
                <c:pt idx="690">
                  <c:v>42248</c:v>
                </c:pt>
                <c:pt idx="691">
                  <c:v>42249</c:v>
                </c:pt>
                <c:pt idx="692">
                  <c:v>42250</c:v>
                </c:pt>
                <c:pt idx="693">
                  <c:v>42251</c:v>
                </c:pt>
                <c:pt idx="694">
                  <c:v>42254</c:v>
                </c:pt>
                <c:pt idx="695">
                  <c:v>42255</c:v>
                </c:pt>
                <c:pt idx="696">
                  <c:v>42256</c:v>
                </c:pt>
                <c:pt idx="697">
                  <c:v>42257</c:v>
                </c:pt>
                <c:pt idx="698">
                  <c:v>42258</c:v>
                </c:pt>
                <c:pt idx="699">
                  <c:v>42261</c:v>
                </c:pt>
                <c:pt idx="700">
                  <c:v>42262</c:v>
                </c:pt>
                <c:pt idx="701">
                  <c:v>42263</c:v>
                </c:pt>
                <c:pt idx="702">
                  <c:v>42264</c:v>
                </c:pt>
                <c:pt idx="703">
                  <c:v>42265</c:v>
                </c:pt>
                <c:pt idx="704">
                  <c:v>42268</c:v>
                </c:pt>
                <c:pt idx="705">
                  <c:v>42269</c:v>
                </c:pt>
                <c:pt idx="706">
                  <c:v>42270</c:v>
                </c:pt>
                <c:pt idx="707">
                  <c:v>42271</c:v>
                </c:pt>
                <c:pt idx="708">
                  <c:v>42272</c:v>
                </c:pt>
                <c:pt idx="709">
                  <c:v>42275</c:v>
                </c:pt>
                <c:pt idx="710">
                  <c:v>42276</c:v>
                </c:pt>
                <c:pt idx="711">
                  <c:v>42277</c:v>
                </c:pt>
                <c:pt idx="712">
                  <c:v>42278</c:v>
                </c:pt>
                <c:pt idx="713">
                  <c:v>42279</c:v>
                </c:pt>
                <c:pt idx="714">
                  <c:v>42282</c:v>
                </c:pt>
                <c:pt idx="715">
                  <c:v>42283</c:v>
                </c:pt>
                <c:pt idx="716">
                  <c:v>42284</c:v>
                </c:pt>
                <c:pt idx="717">
                  <c:v>42285</c:v>
                </c:pt>
                <c:pt idx="718">
                  <c:v>42286</c:v>
                </c:pt>
                <c:pt idx="719">
                  <c:v>42289</c:v>
                </c:pt>
                <c:pt idx="720">
                  <c:v>42290</c:v>
                </c:pt>
                <c:pt idx="721">
                  <c:v>42291</c:v>
                </c:pt>
                <c:pt idx="722">
                  <c:v>42292</c:v>
                </c:pt>
                <c:pt idx="723">
                  <c:v>42293</c:v>
                </c:pt>
                <c:pt idx="724">
                  <c:v>42296</c:v>
                </c:pt>
                <c:pt idx="725">
                  <c:v>42297</c:v>
                </c:pt>
                <c:pt idx="726">
                  <c:v>42298</c:v>
                </c:pt>
                <c:pt idx="727">
                  <c:v>42299</c:v>
                </c:pt>
                <c:pt idx="728">
                  <c:v>42303</c:v>
                </c:pt>
                <c:pt idx="729">
                  <c:v>42304</c:v>
                </c:pt>
                <c:pt idx="730">
                  <c:v>42305</c:v>
                </c:pt>
                <c:pt idx="731">
                  <c:v>42306</c:v>
                </c:pt>
                <c:pt idx="732">
                  <c:v>42307</c:v>
                </c:pt>
                <c:pt idx="733">
                  <c:v>42311</c:v>
                </c:pt>
                <c:pt idx="734">
                  <c:v>42312</c:v>
                </c:pt>
                <c:pt idx="735">
                  <c:v>42313</c:v>
                </c:pt>
                <c:pt idx="736">
                  <c:v>42314</c:v>
                </c:pt>
                <c:pt idx="737">
                  <c:v>42317</c:v>
                </c:pt>
                <c:pt idx="738">
                  <c:v>42318</c:v>
                </c:pt>
                <c:pt idx="739">
                  <c:v>42319</c:v>
                </c:pt>
                <c:pt idx="740">
                  <c:v>42320</c:v>
                </c:pt>
                <c:pt idx="741">
                  <c:v>42321</c:v>
                </c:pt>
                <c:pt idx="742">
                  <c:v>42324</c:v>
                </c:pt>
                <c:pt idx="743">
                  <c:v>42325</c:v>
                </c:pt>
                <c:pt idx="744">
                  <c:v>42326</c:v>
                </c:pt>
                <c:pt idx="745">
                  <c:v>42327</c:v>
                </c:pt>
                <c:pt idx="746">
                  <c:v>42328</c:v>
                </c:pt>
                <c:pt idx="747">
                  <c:v>42331</c:v>
                </c:pt>
                <c:pt idx="748">
                  <c:v>42332</c:v>
                </c:pt>
                <c:pt idx="749">
                  <c:v>42333</c:v>
                </c:pt>
                <c:pt idx="750">
                  <c:v>42334</c:v>
                </c:pt>
                <c:pt idx="751">
                  <c:v>42335</c:v>
                </c:pt>
                <c:pt idx="752">
                  <c:v>42338</c:v>
                </c:pt>
                <c:pt idx="753">
                  <c:v>42339</c:v>
                </c:pt>
                <c:pt idx="754">
                  <c:v>42340</c:v>
                </c:pt>
                <c:pt idx="755">
                  <c:v>42341</c:v>
                </c:pt>
                <c:pt idx="756">
                  <c:v>42342</c:v>
                </c:pt>
                <c:pt idx="757">
                  <c:v>42346</c:v>
                </c:pt>
                <c:pt idx="758">
                  <c:v>42347</c:v>
                </c:pt>
                <c:pt idx="759">
                  <c:v>42349</c:v>
                </c:pt>
                <c:pt idx="760">
                  <c:v>42352</c:v>
                </c:pt>
                <c:pt idx="761">
                  <c:v>42353</c:v>
                </c:pt>
                <c:pt idx="762">
                  <c:v>42354</c:v>
                </c:pt>
                <c:pt idx="763">
                  <c:v>42355</c:v>
                </c:pt>
                <c:pt idx="764">
                  <c:v>42356</c:v>
                </c:pt>
                <c:pt idx="765">
                  <c:v>42359</c:v>
                </c:pt>
                <c:pt idx="766">
                  <c:v>42360</c:v>
                </c:pt>
                <c:pt idx="767">
                  <c:v>42361</c:v>
                </c:pt>
                <c:pt idx="768">
                  <c:v>42362</c:v>
                </c:pt>
                <c:pt idx="769">
                  <c:v>42363</c:v>
                </c:pt>
                <c:pt idx="770">
                  <c:v>42366</c:v>
                </c:pt>
                <c:pt idx="771">
                  <c:v>42367</c:v>
                </c:pt>
                <c:pt idx="772">
                  <c:v>42368</c:v>
                </c:pt>
                <c:pt idx="773">
                  <c:v>42373</c:v>
                </c:pt>
                <c:pt idx="774">
                  <c:v>42374</c:v>
                </c:pt>
                <c:pt idx="775">
                  <c:v>42375</c:v>
                </c:pt>
                <c:pt idx="776">
                  <c:v>42376</c:v>
                </c:pt>
                <c:pt idx="777">
                  <c:v>42377</c:v>
                </c:pt>
                <c:pt idx="778">
                  <c:v>42380</c:v>
                </c:pt>
                <c:pt idx="779">
                  <c:v>42381</c:v>
                </c:pt>
                <c:pt idx="780">
                  <c:v>42382</c:v>
                </c:pt>
                <c:pt idx="781">
                  <c:v>42383</c:v>
                </c:pt>
                <c:pt idx="782">
                  <c:v>42384</c:v>
                </c:pt>
                <c:pt idx="783">
                  <c:v>42387</c:v>
                </c:pt>
                <c:pt idx="784">
                  <c:v>42388</c:v>
                </c:pt>
                <c:pt idx="785">
                  <c:v>42389</c:v>
                </c:pt>
                <c:pt idx="786">
                  <c:v>42390</c:v>
                </c:pt>
                <c:pt idx="787">
                  <c:v>42391</c:v>
                </c:pt>
                <c:pt idx="788">
                  <c:v>42394</c:v>
                </c:pt>
                <c:pt idx="789">
                  <c:v>42395</c:v>
                </c:pt>
                <c:pt idx="790">
                  <c:v>42396</c:v>
                </c:pt>
                <c:pt idx="791">
                  <c:v>42397</c:v>
                </c:pt>
                <c:pt idx="792">
                  <c:v>42398</c:v>
                </c:pt>
                <c:pt idx="793">
                  <c:v>42401</c:v>
                </c:pt>
                <c:pt idx="794">
                  <c:v>42402</c:v>
                </c:pt>
                <c:pt idx="795">
                  <c:v>42403</c:v>
                </c:pt>
                <c:pt idx="796">
                  <c:v>42404</c:v>
                </c:pt>
                <c:pt idx="797">
                  <c:v>42405</c:v>
                </c:pt>
                <c:pt idx="798">
                  <c:v>42408</c:v>
                </c:pt>
                <c:pt idx="799">
                  <c:v>42409</c:v>
                </c:pt>
                <c:pt idx="800">
                  <c:v>42410</c:v>
                </c:pt>
                <c:pt idx="801">
                  <c:v>42411</c:v>
                </c:pt>
                <c:pt idx="802">
                  <c:v>42415</c:v>
                </c:pt>
                <c:pt idx="803">
                  <c:v>42416</c:v>
                </c:pt>
                <c:pt idx="804">
                  <c:v>42417</c:v>
                </c:pt>
                <c:pt idx="805">
                  <c:v>42418</c:v>
                </c:pt>
                <c:pt idx="806">
                  <c:v>42419</c:v>
                </c:pt>
                <c:pt idx="807">
                  <c:v>42423</c:v>
                </c:pt>
                <c:pt idx="808">
                  <c:v>42424</c:v>
                </c:pt>
                <c:pt idx="809">
                  <c:v>42425</c:v>
                </c:pt>
                <c:pt idx="810">
                  <c:v>42426</c:v>
                </c:pt>
                <c:pt idx="811">
                  <c:v>42429</c:v>
                </c:pt>
                <c:pt idx="812">
                  <c:v>42430</c:v>
                </c:pt>
                <c:pt idx="813">
                  <c:v>42431</c:v>
                </c:pt>
                <c:pt idx="814">
                  <c:v>42432</c:v>
                </c:pt>
                <c:pt idx="815">
                  <c:v>42433</c:v>
                </c:pt>
                <c:pt idx="816">
                  <c:v>42436</c:v>
                </c:pt>
                <c:pt idx="817">
                  <c:v>42437</c:v>
                </c:pt>
                <c:pt idx="818">
                  <c:v>42438</c:v>
                </c:pt>
                <c:pt idx="819">
                  <c:v>42439</c:v>
                </c:pt>
                <c:pt idx="820">
                  <c:v>42440</c:v>
                </c:pt>
                <c:pt idx="821">
                  <c:v>42443</c:v>
                </c:pt>
                <c:pt idx="822">
                  <c:v>42444</c:v>
                </c:pt>
                <c:pt idx="823">
                  <c:v>42445</c:v>
                </c:pt>
                <c:pt idx="824">
                  <c:v>42446</c:v>
                </c:pt>
                <c:pt idx="825">
                  <c:v>42447</c:v>
                </c:pt>
                <c:pt idx="826">
                  <c:v>42450</c:v>
                </c:pt>
                <c:pt idx="827">
                  <c:v>42451</c:v>
                </c:pt>
                <c:pt idx="828">
                  <c:v>42452</c:v>
                </c:pt>
                <c:pt idx="829">
                  <c:v>42453</c:v>
                </c:pt>
                <c:pt idx="830">
                  <c:v>42454</c:v>
                </c:pt>
                <c:pt idx="831">
                  <c:v>42457</c:v>
                </c:pt>
                <c:pt idx="832">
                  <c:v>42458</c:v>
                </c:pt>
                <c:pt idx="833">
                  <c:v>42459</c:v>
                </c:pt>
                <c:pt idx="834">
                  <c:v>42460</c:v>
                </c:pt>
                <c:pt idx="835">
                  <c:v>42461</c:v>
                </c:pt>
                <c:pt idx="836">
                  <c:v>42464</c:v>
                </c:pt>
                <c:pt idx="837">
                  <c:v>42465</c:v>
                </c:pt>
                <c:pt idx="838">
                  <c:v>42467</c:v>
                </c:pt>
                <c:pt idx="839">
                  <c:v>42468</c:v>
                </c:pt>
                <c:pt idx="840">
                  <c:v>42471</c:v>
                </c:pt>
                <c:pt idx="841">
                  <c:v>42472</c:v>
                </c:pt>
                <c:pt idx="842">
                  <c:v>42478</c:v>
                </c:pt>
                <c:pt idx="843">
                  <c:v>42479</c:v>
                </c:pt>
                <c:pt idx="844">
                  <c:v>42480</c:v>
                </c:pt>
                <c:pt idx="845">
                  <c:v>42481</c:v>
                </c:pt>
                <c:pt idx="846">
                  <c:v>42482</c:v>
                </c:pt>
                <c:pt idx="847">
                  <c:v>42485</c:v>
                </c:pt>
                <c:pt idx="848">
                  <c:v>42486</c:v>
                </c:pt>
                <c:pt idx="849">
                  <c:v>42487</c:v>
                </c:pt>
                <c:pt idx="850">
                  <c:v>42488</c:v>
                </c:pt>
                <c:pt idx="851">
                  <c:v>42489</c:v>
                </c:pt>
                <c:pt idx="852">
                  <c:v>42493</c:v>
                </c:pt>
                <c:pt idx="853">
                  <c:v>42494</c:v>
                </c:pt>
                <c:pt idx="854">
                  <c:v>42499</c:v>
                </c:pt>
                <c:pt idx="855">
                  <c:v>42500</c:v>
                </c:pt>
                <c:pt idx="856">
                  <c:v>42501</c:v>
                </c:pt>
                <c:pt idx="857">
                  <c:v>42502</c:v>
                </c:pt>
                <c:pt idx="858">
                  <c:v>42503</c:v>
                </c:pt>
                <c:pt idx="859">
                  <c:v>42507</c:v>
                </c:pt>
                <c:pt idx="860">
                  <c:v>42508</c:v>
                </c:pt>
                <c:pt idx="861">
                  <c:v>42509</c:v>
                </c:pt>
                <c:pt idx="862">
                  <c:v>42513</c:v>
                </c:pt>
                <c:pt idx="863">
                  <c:v>42514</c:v>
                </c:pt>
                <c:pt idx="864">
                  <c:v>42515</c:v>
                </c:pt>
                <c:pt idx="865">
                  <c:v>42516</c:v>
                </c:pt>
                <c:pt idx="866">
                  <c:v>42517</c:v>
                </c:pt>
                <c:pt idx="867">
                  <c:v>42520</c:v>
                </c:pt>
                <c:pt idx="868">
                  <c:v>42521</c:v>
                </c:pt>
                <c:pt idx="869">
                  <c:v>42522</c:v>
                </c:pt>
                <c:pt idx="870">
                  <c:v>42523</c:v>
                </c:pt>
                <c:pt idx="871">
                  <c:v>42524</c:v>
                </c:pt>
                <c:pt idx="872">
                  <c:v>42527</c:v>
                </c:pt>
                <c:pt idx="873">
                  <c:v>42528</c:v>
                </c:pt>
                <c:pt idx="874">
                  <c:v>42529</c:v>
                </c:pt>
                <c:pt idx="875">
                  <c:v>42530</c:v>
                </c:pt>
                <c:pt idx="876">
                  <c:v>42531</c:v>
                </c:pt>
                <c:pt idx="877">
                  <c:v>42534</c:v>
                </c:pt>
                <c:pt idx="878">
                  <c:v>42535</c:v>
                </c:pt>
                <c:pt idx="879">
                  <c:v>42537</c:v>
                </c:pt>
                <c:pt idx="880">
                  <c:v>42538</c:v>
                </c:pt>
                <c:pt idx="881">
                  <c:v>42541</c:v>
                </c:pt>
                <c:pt idx="882">
                  <c:v>42542</c:v>
                </c:pt>
                <c:pt idx="883">
                  <c:v>42543</c:v>
                </c:pt>
                <c:pt idx="884">
                  <c:v>42544</c:v>
                </c:pt>
                <c:pt idx="885">
                  <c:v>42545</c:v>
                </c:pt>
                <c:pt idx="886">
                  <c:v>42548</c:v>
                </c:pt>
                <c:pt idx="887">
                  <c:v>42549</c:v>
                </c:pt>
                <c:pt idx="888">
                  <c:v>42550</c:v>
                </c:pt>
                <c:pt idx="889">
                  <c:v>42551</c:v>
                </c:pt>
                <c:pt idx="890">
                  <c:v>42555</c:v>
                </c:pt>
                <c:pt idx="891">
                  <c:v>42556</c:v>
                </c:pt>
                <c:pt idx="892">
                  <c:v>42557</c:v>
                </c:pt>
                <c:pt idx="893">
                  <c:v>42558</c:v>
                </c:pt>
                <c:pt idx="894">
                  <c:v>42559</c:v>
                </c:pt>
                <c:pt idx="895">
                  <c:v>42562</c:v>
                </c:pt>
                <c:pt idx="896">
                  <c:v>42563</c:v>
                </c:pt>
                <c:pt idx="897">
                  <c:v>42564</c:v>
                </c:pt>
                <c:pt idx="898">
                  <c:v>42565</c:v>
                </c:pt>
                <c:pt idx="899">
                  <c:v>42566</c:v>
                </c:pt>
                <c:pt idx="900">
                  <c:v>42571</c:v>
                </c:pt>
                <c:pt idx="901">
                  <c:v>42572</c:v>
                </c:pt>
                <c:pt idx="902">
                  <c:v>42573</c:v>
                </c:pt>
                <c:pt idx="903">
                  <c:v>42576</c:v>
                </c:pt>
                <c:pt idx="904">
                  <c:v>42577</c:v>
                </c:pt>
                <c:pt idx="905">
                  <c:v>42578</c:v>
                </c:pt>
                <c:pt idx="906">
                  <c:v>42579</c:v>
                </c:pt>
                <c:pt idx="907">
                  <c:v>42580</c:v>
                </c:pt>
                <c:pt idx="908">
                  <c:v>42583</c:v>
                </c:pt>
                <c:pt idx="909">
                  <c:v>42584</c:v>
                </c:pt>
                <c:pt idx="910">
                  <c:v>42585</c:v>
                </c:pt>
                <c:pt idx="911">
                  <c:v>42586</c:v>
                </c:pt>
                <c:pt idx="912">
                  <c:v>42587</c:v>
                </c:pt>
                <c:pt idx="913">
                  <c:v>42590</c:v>
                </c:pt>
                <c:pt idx="914">
                  <c:v>42591</c:v>
                </c:pt>
                <c:pt idx="915">
                  <c:v>42592</c:v>
                </c:pt>
                <c:pt idx="916">
                  <c:v>42593</c:v>
                </c:pt>
                <c:pt idx="917">
                  <c:v>42597</c:v>
                </c:pt>
                <c:pt idx="918">
                  <c:v>42598</c:v>
                </c:pt>
                <c:pt idx="919">
                  <c:v>42599</c:v>
                </c:pt>
                <c:pt idx="920">
                  <c:v>42600</c:v>
                </c:pt>
                <c:pt idx="921">
                  <c:v>42601</c:v>
                </c:pt>
                <c:pt idx="922">
                  <c:v>42604</c:v>
                </c:pt>
                <c:pt idx="923">
                  <c:v>42605</c:v>
                </c:pt>
                <c:pt idx="924">
                  <c:v>42606</c:v>
                </c:pt>
                <c:pt idx="925">
                  <c:v>42607</c:v>
                </c:pt>
                <c:pt idx="926">
                  <c:v>42608</c:v>
                </c:pt>
                <c:pt idx="927">
                  <c:v>42611</c:v>
                </c:pt>
                <c:pt idx="928">
                  <c:v>42612</c:v>
                </c:pt>
                <c:pt idx="929">
                  <c:v>42613</c:v>
                </c:pt>
                <c:pt idx="930">
                  <c:v>42614</c:v>
                </c:pt>
                <c:pt idx="931">
                  <c:v>42615</c:v>
                </c:pt>
                <c:pt idx="932">
                  <c:v>42618</c:v>
                </c:pt>
                <c:pt idx="933">
                  <c:v>42619</c:v>
                </c:pt>
                <c:pt idx="934">
                  <c:v>42620</c:v>
                </c:pt>
                <c:pt idx="935">
                  <c:v>42621</c:v>
                </c:pt>
                <c:pt idx="936">
                  <c:v>42622</c:v>
                </c:pt>
                <c:pt idx="937">
                  <c:v>42625</c:v>
                </c:pt>
                <c:pt idx="938">
                  <c:v>42626</c:v>
                </c:pt>
                <c:pt idx="939">
                  <c:v>42627</c:v>
                </c:pt>
                <c:pt idx="940">
                  <c:v>42628</c:v>
                </c:pt>
                <c:pt idx="941">
                  <c:v>42629</c:v>
                </c:pt>
                <c:pt idx="942">
                  <c:v>42632</c:v>
                </c:pt>
                <c:pt idx="943">
                  <c:v>42633</c:v>
                </c:pt>
                <c:pt idx="944">
                  <c:v>42634</c:v>
                </c:pt>
                <c:pt idx="945">
                  <c:v>42635</c:v>
                </c:pt>
                <c:pt idx="946">
                  <c:v>42636</c:v>
                </c:pt>
                <c:pt idx="947">
                  <c:v>42639</c:v>
                </c:pt>
                <c:pt idx="948">
                  <c:v>42640</c:v>
                </c:pt>
                <c:pt idx="949">
                  <c:v>42641</c:v>
                </c:pt>
                <c:pt idx="950">
                  <c:v>42642</c:v>
                </c:pt>
                <c:pt idx="951">
                  <c:v>42643</c:v>
                </c:pt>
                <c:pt idx="952">
                  <c:v>42646</c:v>
                </c:pt>
                <c:pt idx="953">
                  <c:v>42647</c:v>
                </c:pt>
                <c:pt idx="954">
                  <c:v>42648</c:v>
                </c:pt>
                <c:pt idx="955">
                  <c:v>42649</c:v>
                </c:pt>
                <c:pt idx="956">
                  <c:v>42650</c:v>
                </c:pt>
                <c:pt idx="957">
                  <c:v>42653</c:v>
                </c:pt>
                <c:pt idx="958">
                  <c:v>42654</c:v>
                </c:pt>
                <c:pt idx="959">
                  <c:v>42655</c:v>
                </c:pt>
                <c:pt idx="960">
                  <c:v>42656</c:v>
                </c:pt>
                <c:pt idx="961">
                  <c:v>42657</c:v>
                </c:pt>
                <c:pt idx="962">
                  <c:v>42660</c:v>
                </c:pt>
                <c:pt idx="963">
                  <c:v>42661</c:v>
                </c:pt>
                <c:pt idx="964">
                  <c:v>42662</c:v>
                </c:pt>
                <c:pt idx="965">
                  <c:v>42663</c:v>
                </c:pt>
                <c:pt idx="966">
                  <c:v>42664</c:v>
                </c:pt>
                <c:pt idx="967">
                  <c:v>42668</c:v>
                </c:pt>
                <c:pt idx="968">
                  <c:v>42669</c:v>
                </c:pt>
                <c:pt idx="969">
                  <c:v>42670</c:v>
                </c:pt>
                <c:pt idx="970">
                  <c:v>42671</c:v>
                </c:pt>
                <c:pt idx="971">
                  <c:v>42674</c:v>
                </c:pt>
                <c:pt idx="972">
                  <c:v>42675</c:v>
                </c:pt>
                <c:pt idx="973">
                  <c:v>42676</c:v>
                </c:pt>
                <c:pt idx="974">
                  <c:v>42677</c:v>
                </c:pt>
                <c:pt idx="975">
                  <c:v>42678</c:v>
                </c:pt>
                <c:pt idx="976">
                  <c:v>42681</c:v>
                </c:pt>
                <c:pt idx="977">
                  <c:v>42682</c:v>
                </c:pt>
                <c:pt idx="978">
                  <c:v>42683</c:v>
                </c:pt>
                <c:pt idx="979">
                  <c:v>42684</c:v>
                </c:pt>
                <c:pt idx="980">
                  <c:v>42685</c:v>
                </c:pt>
                <c:pt idx="981">
                  <c:v>42688</c:v>
                </c:pt>
                <c:pt idx="982">
                  <c:v>42689</c:v>
                </c:pt>
                <c:pt idx="983">
                  <c:v>42690</c:v>
                </c:pt>
                <c:pt idx="984">
                  <c:v>42691</c:v>
                </c:pt>
                <c:pt idx="985">
                  <c:v>42692</c:v>
                </c:pt>
                <c:pt idx="986">
                  <c:v>42695</c:v>
                </c:pt>
                <c:pt idx="987">
                  <c:v>42696</c:v>
                </c:pt>
                <c:pt idx="988">
                  <c:v>42697</c:v>
                </c:pt>
                <c:pt idx="989">
                  <c:v>42698</c:v>
                </c:pt>
                <c:pt idx="990">
                  <c:v>42699</c:v>
                </c:pt>
                <c:pt idx="991">
                  <c:v>42702</c:v>
                </c:pt>
                <c:pt idx="992">
                  <c:v>42703</c:v>
                </c:pt>
                <c:pt idx="993">
                  <c:v>42704</c:v>
                </c:pt>
                <c:pt idx="994">
                  <c:v>42705</c:v>
                </c:pt>
                <c:pt idx="995">
                  <c:v>42706</c:v>
                </c:pt>
                <c:pt idx="996">
                  <c:v>42710</c:v>
                </c:pt>
                <c:pt idx="997">
                  <c:v>42711</c:v>
                </c:pt>
                <c:pt idx="998">
                  <c:v>42712</c:v>
                </c:pt>
                <c:pt idx="999">
                  <c:v>42713</c:v>
                </c:pt>
                <c:pt idx="1000">
                  <c:v>42717</c:v>
                </c:pt>
                <c:pt idx="1001">
                  <c:v>42718</c:v>
                </c:pt>
                <c:pt idx="1002">
                  <c:v>42719</c:v>
                </c:pt>
                <c:pt idx="1003">
                  <c:v>42720</c:v>
                </c:pt>
                <c:pt idx="1004">
                  <c:v>42723</c:v>
                </c:pt>
                <c:pt idx="1005">
                  <c:v>42725</c:v>
                </c:pt>
                <c:pt idx="1006">
                  <c:v>42726</c:v>
                </c:pt>
                <c:pt idx="1007">
                  <c:v>42727</c:v>
                </c:pt>
                <c:pt idx="1008">
                  <c:v>42730</c:v>
                </c:pt>
                <c:pt idx="1009">
                  <c:v>42731</c:v>
                </c:pt>
                <c:pt idx="1010">
                  <c:v>42732</c:v>
                </c:pt>
                <c:pt idx="1011">
                  <c:v>42733</c:v>
                </c:pt>
                <c:pt idx="1012">
                  <c:v>42734</c:v>
                </c:pt>
                <c:pt idx="1013">
                  <c:v>42739</c:v>
                </c:pt>
                <c:pt idx="1014">
                  <c:v>42740</c:v>
                </c:pt>
                <c:pt idx="1015">
                  <c:v>42741</c:v>
                </c:pt>
                <c:pt idx="1016">
                  <c:v>42744</c:v>
                </c:pt>
                <c:pt idx="1017">
                  <c:v>42745</c:v>
                </c:pt>
                <c:pt idx="1018">
                  <c:v>42746</c:v>
                </c:pt>
                <c:pt idx="1019">
                  <c:v>42747</c:v>
                </c:pt>
                <c:pt idx="1020">
                  <c:v>42748</c:v>
                </c:pt>
                <c:pt idx="1021">
                  <c:v>42751</c:v>
                </c:pt>
                <c:pt idx="1022">
                  <c:v>42752</c:v>
                </c:pt>
                <c:pt idx="1023">
                  <c:v>42753</c:v>
                </c:pt>
                <c:pt idx="1024">
                  <c:v>42754</c:v>
                </c:pt>
                <c:pt idx="1025">
                  <c:v>42755</c:v>
                </c:pt>
                <c:pt idx="1026">
                  <c:v>42758</c:v>
                </c:pt>
                <c:pt idx="1027">
                  <c:v>42759</c:v>
                </c:pt>
                <c:pt idx="1028">
                  <c:v>42760</c:v>
                </c:pt>
                <c:pt idx="1029">
                  <c:v>42761</c:v>
                </c:pt>
                <c:pt idx="1030">
                  <c:v>42762</c:v>
                </c:pt>
                <c:pt idx="1031">
                  <c:v>42765</c:v>
                </c:pt>
                <c:pt idx="1032">
                  <c:v>42766</c:v>
                </c:pt>
                <c:pt idx="1033">
                  <c:v>42767</c:v>
                </c:pt>
                <c:pt idx="1034">
                  <c:v>42768</c:v>
                </c:pt>
                <c:pt idx="1035">
                  <c:v>42769</c:v>
                </c:pt>
                <c:pt idx="1036">
                  <c:v>42772</c:v>
                </c:pt>
                <c:pt idx="1037">
                  <c:v>42773</c:v>
                </c:pt>
                <c:pt idx="1038">
                  <c:v>42774</c:v>
                </c:pt>
                <c:pt idx="1039">
                  <c:v>42775</c:v>
                </c:pt>
                <c:pt idx="1040">
                  <c:v>42776</c:v>
                </c:pt>
                <c:pt idx="1041">
                  <c:v>42780</c:v>
                </c:pt>
                <c:pt idx="1042">
                  <c:v>42781</c:v>
                </c:pt>
                <c:pt idx="1043">
                  <c:v>42782</c:v>
                </c:pt>
                <c:pt idx="1044">
                  <c:v>42783</c:v>
                </c:pt>
                <c:pt idx="1045">
                  <c:v>42786</c:v>
                </c:pt>
                <c:pt idx="1046">
                  <c:v>42787</c:v>
                </c:pt>
                <c:pt idx="1047">
                  <c:v>42788</c:v>
                </c:pt>
                <c:pt idx="1048">
                  <c:v>42789</c:v>
                </c:pt>
                <c:pt idx="1049">
                  <c:v>42790</c:v>
                </c:pt>
                <c:pt idx="1050">
                  <c:v>42793</c:v>
                </c:pt>
                <c:pt idx="1051">
                  <c:v>42794</c:v>
                </c:pt>
                <c:pt idx="1052">
                  <c:v>42795</c:v>
                </c:pt>
                <c:pt idx="1053">
                  <c:v>42796</c:v>
                </c:pt>
                <c:pt idx="1054">
                  <c:v>42797</c:v>
                </c:pt>
                <c:pt idx="1055">
                  <c:v>42800</c:v>
                </c:pt>
                <c:pt idx="1056">
                  <c:v>42801</c:v>
                </c:pt>
                <c:pt idx="1057">
                  <c:v>42802</c:v>
                </c:pt>
                <c:pt idx="1058">
                  <c:v>42803</c:v>
                </c:pt>
                <c:pt idx="1059">
                  <c:v>42804</c:v>
                </c:pt>
                <c:pt idx="1060">
                  <c:v>42807</c:v>
                </c:pt>
                <c:pt idx="1061">
                  <c:v>42808</c:v>
                </c:pt>
                <c:pt idx="1062">
                  <c:v>42809</c:v>
                </c:pt>
                <c:pt idx="1063">
                  <c:v>42810</c:v>
                </c:pt>
                <c:pt idx="1064">
                  <c:v>42811</c:v>
                </c:pt>
                <c:pt idx="1065">
                  <c:v>42814</c:v>
                </c:pt>
                <c:pt idx="1066">
                  <c:v>42815</c:v>
                </c:pt>
                <c:pt idx="1067">
                  <c:v>42816</c:v>
                </c:pt>
                <c:pt idx="1068">
                  <c:v>42817</c:v>
                </c:pt>
                <c:pt idx="1069">
                  <c:v>42818</c:v>
                </c:pt>
                <c:pt idx="1070">
                  <c:v>42821</c:v>
                </c:pt>
                <c:pt idx="1071">
                  <c:v>42822</c:v>
                </c:pt>
                <c:pt idx="1072">
                  <c:v>42823</c:v>
                </c:pt>
                <c:pt idx="1073">
                  <c:v>42824</c:v>
                </c:pt>
                <c:pt idx="1074">
                  <c:v>42825</c:v>
                </c:pt>
                <c:pt idx="1075">
                  <c:v>42828</c:v>
                </c:pt>
                <c:pt idx="1076">
                  <c:v>42829</c:v>
                </c:pt>
                <c:pt idx="1077">
                  <c:v>42830</c:v>
                </c:pt>
                <c:pt idx="1078">
                  <c:v>42832</c:v>
                </c:pt>
                <c:pt idx="1079">
                  <c:v>42835</c:v>
                </c:pt>
                <c:pt idx="1080">
                  <c:v>42836</c:v>
                </c:pt>
                <c:pt idx="1081">
                  <c:v>42837</c:v>
                </c:pt>
                <c:pt idx="1082">
                  <c:v>42842</c:v>
                </c:pt>
                <c:pt idx="1083">
                  <c:v>42843</c:v>
                </c:pt>
                <c:pt idx="1084">
                  <c:v>42844</c:v>
                </c:pt>
                <c:pt idx="1085">
                  <c:v>42846</c:v>
                </c:pt>
                <c:pt idx="1086">
                  <c:v>42849</c:v>
                </c:pt>
                <c:pt idx="1087">
                  <c:v>42850</c:v>
                </c:pt>
                <c:pt idx="1088">
                  <c:v>42851</c:v>
                </c:pt>
                <c:pt idx="1089">
                  <c:v>42853</c:v>
                </c:pt>
                <c:pt idx="1090">
                  <c:v>42858</c:v>
                </c:pt>
                <c:pt idx="1091">
                  <c:v>42859</c:v>
                </c:pt>
                <c:pt idx="1092">
                  <c:v>42860</c:v>
                </c:pt>
                <c:pt idx="1093">
                  <c:v>42863</c:v>
                </c:pt>
                <c:pt idx="1094">
                  <c:v>42864</c:v>
                </c:pt>
                <c:pt idx="1095">
                  <c:v>42867</c:v>
                </c:pt>
                <c:pt idx="1096">
                  <c:v>42870</c:v>
                </c:pt>
                <c:pt idx="1097">
                  <c:v>42871</c:v>
                </c:pt>
                <c:pt idx="1098">
                  <c:v>42872</c:v>
                </c:pt>
                <c:pt idx="1099">
                  <c:v>42873</c:v>
                </c:pt>
                <c:pt idx="1100">
                  <c:v>42874</c:v>
                </c:pt>
                <c:pt idx="1101">
                  <c:v>42877</c:v>
                </c:pt>
                <c:pt idx="1102">
                  <c:v>42878</c:v>
                </c:pt>
                <c:pt idx="1103">
                  <c:v>42879</c:v>
                </c:pt>
                <c:pt idx="1104">
                  <c:v>42880</c:v>
                </c:pt>
                <c:pt idx="1105">
                  <c:v>42881</c:v>
                </c:pt>
                <c:pt idx="1106">
                  <c:v>42884</c:v>
                </c:pt>
                <c:pt idx="1107">
                  <c:v>42885</c:v>
                </c:pt>
                <c:pt idx="1108">
                  <c:v>42886</c:v>
                </c:pt>
                <c:pt idx="1109">
                  <c:v>42888</c:v>
                </c:pt>
                <c:pt idx="1110">
                  <c:v>42891</c:v>
                </c:pt>
                <c:pt idx="1111">
                  <c:v>42892</c:v>
                </c:pt>
                <c:pt idx="1112">
                  <c:v>42893</c:v>
                </c:pt>
                <c:pt idx="1113">
                  <c:v>42894</c:v>
                </c:pt>
                <c:pt idx="1114">
                  <c:v>42895</c:v>
                </c:pt>
                <c:pt idx="1115">
                  <c:v>42898</c:v>
                </c:pt>
                <c:pt idx="1116">
                  <c:v>42899</c:v>
                </c:pt>
                <c:pt idx="1117">
                  <c:v>42900</c:v>
                </c:pt>
                <c:pt idx="1118">
                  <c:v>42901</c:v>
                </c:pt>
                <c:pt idx="1119">
                  <c:v>42902</c:v>
                </c:pt>
                <c:pt idx="1120">
                  <c:v>42905</c:v>
                </c:pt>
                <c:pt idx="1121">
                  <c:v>42906</c:v>
                </c:pt>
                <c:pt idx="1122">
                  <c:v>42907</c:v>
                </c:pt>
                <c:pt idx="1123">
                  <c:v>42908</c:v>
                </c:pt>
                <c:pt idx="1124">
                  <c:v>42909</c:v>
                </c:pt>
                <c:pt idx="1125">
                  <c:v>42912</c:v>
                </c:pt>
                <c:pt idx="1126">
                  <c:v>42913</c:v>
                </c:pt>
                <c:pt idx="1127">
                  <c:v>42914</c:v>
                </c:pt>
                <c:pt idx="1128">
                  <c:v>42915</c:v>
                </c:pt>
                <c:pt idx="1129">
                  <c:v>42916</c:v>
                </c:pt>
                <c:pt idx="1130">
                  <c:v>42919</c:v>
                </c:pt>
                <c:pt idx="1131">
                  <c:v>42920</c:v>
                </c:pt>
                <c:pt idx="1132">
                  <c:v>42921</c:v>
                </c:pt>
                <c:pt idx="1133">
                  <c:v>42922</c:v>
                </c:pt>
                <c:pt idx="1134">
                  <c:v>42923</c:v>
                </c:pt>
                <c:pt idx="1135">
                  <c:v>42927</c:v>
                </c:pt>
                <c:pt idx="1136">
                  <c:v>42928</c:v>
                </c:pt>
                <c:pt idx="1137">
                  <c:v>42929</c:v>
                </c:pt>
                <c:pt idx="1138">
                  <c:v>42930</c:v>
                </c:pt>
                <c:pt idx="1139">
                  <c:v>42933</c:v>
                </c:pt>
                <c:pt idx="1140">
                  <c:v>42934</c:v>
                </c:pt>
                <c:pt idx="1141">
                  <c:v>42935</c:v>
                </c:pt>
                <c:pt idx="1142">
                  <c:v>42936</c:v>
                </c:pt>
                <c:pt idx="1143">
                  <c:v>42937</c:v>
                </c:pt>
                <c:pt idx="1144">
                  <c:v>42940</c:v>
                </c:pt>
                <c:pt idx="1145">
                  <c:v>42941</c:v>
                </c:pt>
                <c:pt idx="1146">
                  <c:v>42942</c:v>
                </c:pt>
                <c:pt idx="1147">
                  <c:v>42943</c:v>
                </c:pt>
                <c:pt idx="1148">
                  <c:v>42947</c:v>
                </c:pt>
                <c:pt idx="1149">
                  <c:v>42950</c:v>
                </c:pt>
                <c:pt idx="1150">
                  <c:v>42951</c:v>
                </c:pt>
                <c:pt idx="1151">
                  <c:v>42954</c:v>
                </c:pt>
                <c:pt idx="1152">
                  <c:v>42955</c:v>
                </c:pt>
                <c:pt idx="1153">
                  <c:v>42957</c:v>
                </c:pt>
                <c:pt idx="1154">
                  <c:v>42958</c:v>
                </c:pt>
                <c:pt idx="1155">
                  <c:v>42956</c:v>
                </c:pt>
                <c:pt idx="1156">
                  <c:v>42962</c:v>
                </c:pt>
                <c:pt idx="1157">
                  <c:v>42963</c:v>
                </c:pt>
                <c:pt idx="1158">
                  <c:v>42964</c:v>
                </c:pt>
                <c:pt idx="1159">
                  <c:v>42965</c:v>
                </c:pt>
                <c:pt idx="1160">
                  <c:v>42968</c:v>
                </c:pt>
                <c:pt idx="1161">
                  <c:v>42969</c:v>
                </c:pt>
                <c:pt idx="1162">
                  <c:v>42970</c:v>
                </c:pt>
                <c:pt idx="1163">
                  <c:v>42971</c:v>
                </c:pt>
                <c:pt idx="1164">
                  <c:v>42972</c:v>
                </c:pt>
                <c:pt idx="1165">
                  <c:v>42975</c:v>
                </c:pt>
                <c:pt idx="1166">
                  <c:v>42976</c:v>
                </c:pt>
                <c:pt idx="1167">
                  <c:v>42977</c:v>
                </c:pt>
                <c:pt idx="1168">
                  <c:v>42978</c:v>
                </c:pt>
                <c:pt idx="1169">
                  <c:v>42979</c:v>
                </c:pt>
                <c:pt idx="1170">
                  <c:v>42982</c:v>
                </c:pt>
                <c:pt idx="1171">
                  <c:v>42983</c:v>
                </c:pt>
                <c:pt idx="1172">
                  <c:v>42984</c:v>
                </c:pt>
                <c:pt idx="1173">
                  <c:v>42985</c:v>
                </c:pt>
                <c:pt idx="1174">
                  <c:v>42990</c:v>
                </c:pt>
                <c:pt idx="1175">
                  <c:v>42991</c:v>
                </c:pt>
                <c:pt idx="1176">
                  <c:v>42992</c:v>
                </c:pt>
                <c:pt idx="1177">
                  <c:v>42993</c:v>
                </c:pt>
                <c:pt idx="1178">
                  <c:v>42996</c:v>
                </c:pt>
                <c:pt idx="1179">
                  <c:v>42997</c:v>
                </c:pt>
                <c:pt idx="1180">
                  <c:v>42998</c:v>
                </c:pt>
                <c:pt idx="1181">
                  <c:v>42999</c:v>
                </c:pt>
                <c:pt idx="1182">
                  <c:v>43000</c:v>
                </c:pt>
                <c:pt idx="1183">
                  <c:v>43003</c:v>
                </c:pt>
                <c:pt idx="1184">
                  <c:v>43004</c:v>
                </c:pt>
                <c:pt idx="1185">
                  <c:v>43005</c:v>
                </c:pt>
                <c:pt idx="1186">
                  <c:v>43006</c:v>
                </c:pt>
                <c:pt idx="1187">
                  <c:v>43007</c:v>
                </c:pt>
                <c:pt idx="1188">
                  <c:v>43010</c:v>
                </c:pt>
                <c:pt idx="1189">
                  <c:v>43012</c:v>
                </c:pt>
                <c:pt idx="1190">
                  <c:v>43013</c:v>
                </c:pt>
                <c:pt idx="1191">
                  <c:v>43014</c:v>
                </c:pt>
                <c:pt idx="1192">
                  <c:v>43017</c:v>
                </c:pt>
                <c:pt idx="1193">
                  <c:v>43018</c:v>
                </c:pt>
                <c:pt idx="1194">
                  <c:v>43019</c:v>
                </c:pt>
                <c:pt idx="1195">
                  <c:v>43020</c:v>
                </c:pt>
                <c:pt idx="1196">
                  <c:v>43024</c:v>
                </c:pt>
                <c:pt idx="1197">
                  <c:v>43025</c:v>
                </c:pt>
                <c:pt idx="1198">
                  <c:v>43027</c:v>
                </c:pt>
                <c:pt idx="1199">
                  <c:v>43028</c:v>
                </c:pt>
                <c:pt idx="1200">
                  <c:v>43032</c:v>
                </c:pt>
                <c:pt idx="1201">
                  <c:v>43033</c:v>
                </c:pt>
                <c:pt idx="1202">
                  <c:v>43035</c:v>
                </c:pt>
                <c:pt idx="1203">
                  <c:v>43038</c:v>
                </c:pt>
                <c:pt idx="1204">
                  <c:v>43039</c:v>
                </c:pt>
                <c:pt idx="1205">
                  <c:v>43040</c:v>
                </c:pt>
                <c:pt idx="1206">
                  <c:v>43041</c:v>
                </c:pt>
                <c:pt idx="1207">
                  <c:v>43042</c:v>
                </c:pt>
                <c:pt idx="1208">
                  <c:v>43045</c:v>
                </c:pt>
                <c:pt idx="1209">
                  <c:v>43046</c:v>
                </c:pt>
                <c:pt idx="1210">
                  <c:v>43047</c:v>
                </c:pt>
                <c:pt idx="1211">
                  <c:v>43048</c:v>
                </c:pt>
                <c:pt idx="1212">
                  <c:v>43049</c:v>
                </c:pt>
                <c:pt idx="1213">
                  <c:v>43052</c:v>
                </c:pt>
                <c:pt idx="1214">
                  <c:v>43053</c:v>
                </c:pt>
                <c:pt idx="1215">
                  <c:v>43055</c:v>
                </c:pt>
                <c:pt idx="1216">
                  <c:v>43056</c:v>
                </c:pt>
                <c:pt idx="1217">
                  <c:v>43061</c:v>
                </c:pt>
                <c:pt idx="1218">
                  <c:v>43062</c:v>
                </c:pt>
                <c:pt idx="1219">
                  <c:v>43063</c:v>
                </c:pt>
                <c:pt idx="1220">
                  <c:v>43066</c:v>
                </c:pt>
                <c:pt idx="1221">
                  <c:v>43067</c:v>
                </c:pt>
                <c:pt idx="1222">
                  <c:v>43068</c:v>
                </c:pt>
                <c:pt idx="1223">
                  <c:v>43069</c:v>
                </c:pt>
                <c:pt idx="1224">
                  <c:v>43070</c:v>
                </c:pt>
                <c:pt idx="1225">
                  <c:v>43073</c:v>
                </c:pt>
                <c:pt idx="1226">
                  <c:v>43075</c:v>
                </c:pt>
                <c:pt idx="1227">
                  <c:v>43076</c:v>
                </c:pt>
                <c:pt idx="1228">
                  <c:v>43081</c:v>
                </c:pt>
                <c:pt idx="1229">
                  <c:v>43082</c:v>
                </c:pt>
                <c:pt idx="1230">
                  <c:v>43083</c:v>
                </c:pt>
                <c:pt idx="1231">
                  <c:v>43084</c:v>
                </c:pt>
                <c:pt idx="1232">
                  <c:v>43087</c:v>
                </c:pt>
                <c:pt idx="1233">
                  <c:v>43088</c:v>
                </c:pt>
                <c:pt idx="1234">
                  <c:v>43089</c:v>
                </c:pt>
                <c:pt idx="1235">
                  <c:v>43090</c:v>
                </c:pt>
                <c:pt idx="1236">
                  <c:v>43091</c:v>
                </c:pt>
                <c:pt idx="1237">
                  <c:v>43094</c:v>
                </c:pt>
                <c:pt idx="1238">
                  <c:v>43095</c:v>
                </c:pt>
                <c:pt idx="1239">
                  <c:v>43096</c:v>
                </c:pt>
                <c:pt idx="1240">
                  <c:v>43097</c:v>
                </c:pt>
                <c:pt idx="1241">
                  <c:v>43098</c:v>
                </c:pt>
                <c:pt idx="1242">
                  <c:v>43103</c:v>
                </c:pt>
                <c:pt idx="1243">
                  <c:v>43104</c:v>
                </c:pt>
                <c:pt idx="1244">
                  <c:v>43105</c:v>
                </c:pt>
                <c:pt idx="1245">
                  <c:v>43108</c:v>
                </c:pt>
                <c:pt idx="1246">
                  <c:v>43109</c:v>
                </c:pt>
                <c:pt idx="1247">
                  <c:v>43110</c:v>
                </c:pt>
                <c:pt idx="1248">
                  <c:v>43111</c:v>
                </c:pt>
                <c:pt idx="1249">
                  <c:v>43112</c:v>
                </c:pt>
                <c:pt idx="1250">
                  <c:v>43115</c:v>
                </c:pt>
                <c:pt idx="1251">
                  <c:v>43116</c:v>
                </c:pt>
                <c:pt idx="1252">
                  <c:v>43117</c:v>
                </c:pt>
                <c:pt idx="1253">
                  <c:v>43118</c:v>
                </c:pt>
                <c:pt idx="1254">
                  <c:v>43119</c:v>
                </c:pt>
                <c:pt idx="1255">
                  <c:v>43122</c:v>
                </c:pt>
                <c:pt idx="1256">
                  <c:v>43123</c:v>
                </c:pt>
                <c:pt idx="1257">
                  <c:v>43124</c:v>
                </c:pt>
                <c:pt idx="1258">
                  <c:v>43125</c:v>
                </c:pt>
                <c:pt idx="1259">
                  <c:v>43126</c:v>
                </c:pt>
                <c:pt idx="1260">
                  <c:v>43129</c:v>
                </c:pt>
                <c:pt idx="1261">
                  <c:v>43130</c:v>
                </c:pt>
                <c:pt idx="1262">
                  <c:v>43131</c:v>
                </c:pt>
                <c:pt idx="1263">
                  <c:v>43132</c:v>
                </c:pt>
                <c:pt idx="1264">
                  <c:v>43133</c:v>
                </c:pt>
                <c:pt idx="1265">
                  <c:v>43136</c:v>
                </c:pt>
                <c:pt idx="1266">
                  <c:v>43137</c:v>
                </c:pt>
                <c:pt idx="1267">
                  <c:v>43139</c:v>
                </c:pt>
                <c:pt idx="1268">
                  <c:v>43140</c:v>
                </c:pt>
                <c:pt idx="1269">
                  <c:v>43143</c:v>
                </c:pt>
                <c:pt idx="1270">
                  <c:v>43144</c:v>
                </c:pt>
                <c:pt idx="1271">
                  <c:v>43145</c:v>
                </c:pt>
                <c:pt idx="1272">
                  <c:v>43146</c:v>
                </c:pt>
                <c:pt idx="1273">
                  <c:v>43147</c:v>
                </c:pt>
                <c:pt idx="1274">
                  <c:v>43150</c:v>
                </c:pt>
                <c:pt idx="1275">
                  <c:v>43151</c:v>
                </c:pt>
                <c:pt idx="1276">
                  <c:v>43152</c:v>
                </c:pt>
                <c:pt idx="1277">
                  <c:v>43153</c:v>
                </c:pt>
                <c:pt idx="1278">
                  <c:v>43154</c:v>
                </c:pt>
                <c:pt idx="1279">
                  <c:v>43157</c:v>
                </c:pt>
                <c:pt idx="1280">
                  <c:v>43158</c:v>
                </c:pt>
                <c:pt idx="1281">
                  <c:v>43159</c:v>
                </c:pt>
                <c:pt idx="1282">
                  <c:v>43161</c:v>
                </c:pt>
                <c:pt idx="1283">
                  <c:v>43164</c:v>
                </c:pt>
                <c:pt idx="1284">
                  <c:v>43166</c:v>
                </c:pt>
                <c:pt idx="1285">
                  <c:v>43167</c:v>
                </c:pt>
                <c:pt idx="1286">
                  <c:v>43168</c:v>
                </c:pt>
                <c:pt idx="1287">
                  <c:v>43172</c:v>
                </c:pt>
                <c:pt idx="1288">
                  <c:v>43173</c:v>
                </c:pt>
                <c:pt idx="1289">
                  <c:v>43174</c:v>
                </c:pt>
                <c:pt idx="1290">
                  <c:v>43175</c:v>
                </c:pt>
                <c:pt idx="1291">
                  <c:v>43178</c:v>
                </c:pt>
                <c:pt idx="1292">
                  <c:v>43179</c:v>
                </c:pt>
                <c:pt idx="1293">
                  <c:v>43180</c:v>
                </c:pt>
                <c:pt idx="1294">
                  <c:v>43181</c:v>
                </c:pt>
                <c:pt idx="1295">
                  <c:v>43182</c:v>
                </c:pt>
                <c:pt idx="1296">
                  <c:v>43185</c:v>
                </c:pt>
                <c:pt idx="1297">
                  <c:v>43186</c:v>
                </c:pt>
                <c:pt idx="1298">
                  <c:v>43187</c:v>
                </c:pt>
                <c:pt idx="1299">
                  <c:v>43188</c:v>
                </c:pt>
                <c:pt idx="1300">
                  <c:v>43189</c:v>
                </c:pt>
                <c:pt idx="1301">
                  <c:v>43192</c:v>
                </c:pt>
                <c:pt idx="1302">
                  <c:v>43193</c:v>
                </c:pt>
                <c:pt idx="1303">
                  <c:v>43194</c:v>
                </c:pt>
                <c:pt idx="1304">
                  <c:v>43195</c:v>
                </c:pt>
                <c:pt idx="1305">
                  <c:v>43199</c:v>
                </c:pt>
                <c:pt idx="1306">
                  <c:v>43200</c:v>
                </c:pt>
                <c:pt idx="1307">
                  <c:v>43201</c:v>
                </c:pt>
                <c:pt idx="1308">
                  <c:v>43202</c:v>
                </c:pt>
                <c:pt idx="1309">
                  <c:v>43207</c:v>
                </c:pt>
                <c:pt idx="1310">
                  <c:v>43208</c:v>
                </c:pt>
                <c:pt idx="1311">
                  <c:v>43209</c:v>
                </c:pt>
                <c:pt idx="1312">
                  <c:v>43213</c:v>
                </c:pt>
                <c:pt idx="1313">
                  <c:v>43214</c:v>
                </c:pt>
                <c:pt idx="1314">
                  <c:v>43215</c:v>
                </c:pt>
                <c:pt idx="1315">
                  <c:v>43216</c:v>
                </c:pt>
                <c:pt idx="1316">
                  <c:v>43217</c:v>
                </c:pt>
                <c:pt idx="1317">
                  <c:v>43220</c:v>
                </c:pt>
                <c:pt idx="1318">
                  <c:v>43222</c:v>
                </c:pt>
                <c:pt idx="1319">
                  <c:v>43223</c:v>
                </c:pt>
                <c:pt idx="1320">
                  <c:v>43224</c:v>
                </c:pt>
                <c:pt idx="1321">
                  <c:v>43227</c:v>
                </c:pt>
                <c:pt idx="1322">
                  <c:v>43228</c:v>
                </c:pt>
                <c:pt idx="1323">
                  <c:v>43229</c:v>
                </c:pt>
                <c:pt idx="1324">
                  <c:v>43230</c:v>
                </c:pt>
                <c:pt idx="1325">
                  <c:v>43231</c:v>
                </c:pt>
                <c:pt idx="1326">
                  <c:v>43234</c:v>
                </c:pt>
                <c:pt idx="1327">
                  <c:v>43235</c:v>
                </c:pt>
                <c:pt idx="1328">
                  <c:v>43236</c:v>
                </c:pt>
                <c:pt idx="1329">
                  <c:v>43237</c:v>
                </c:pt>
                <c:pt idx="1330">
                  <c:v>43238</c:v>
                </c:pt>
                <c:pt idx="1331">
                  <c:v>43241</c:v>
                </c:pt>
                <c:pt idx="1332">
                  <c:v>43242</c:v>
                </c:pt>
                <c:pt idx="1333">
                  <c:v>43244</c:v>
                </c:pt>
                <c:pt idx="1334">
                  <c:v>43245</c:v>
                </c:pt>
                <c:pt idx="1335">
                  <c:v>43248</c:v>
                </c:pt>
                <c:pt idx="1336">
                  <c:v>43250</c:v>
                </c:pt>
                <c:pt idx="1337">
                  <c:v>43251</c:v>
                </c:pt>
                <c:pt idx="1338">
                  <c:v>43252</c:v>
                </c:pt>
                <c:pt idx="1339">
                  <c:v>43255</c:v>
                </c:pt>
                <c:pt idx="1340">
                  <c:v>43256</c:v>
                </c:pt>
                <c:pt idx="1341">
                  <c:v>43257</c:v>
                </c:pt>
                <c:pt idx="1342">
                  <c:v>43258</c:v>
                </c:pt>
                <c:pt idx="1343">
                  <c:v>43259</c:v>
                </c:pt>
                <c:pt idx="1344">
                  <c:v>43262</c:v>
                </c:pt>
                <c:pt idx="1345">
                  <c:v>43263</c:v>
                </c:pt>
                <c:pt idx="1346">
                  <c:v>43264</c:v>
                </c:pt>
                <c:pt idx="1347">
                  <c:v>43265</c:v>
                </c:pt>
                <c:pt idx="1348">
                  <c:v>43266</c:v>
                </c:pt>
                <c:pt idx="1349">
                  <c:v>43269</c:v>
                </c:pt>
                <c:pt idx="1350">
                  <c:v>43270</c:v>
                </c:pt>
                <c:pt idx="1351">
                  <c:v>43271</c:v>
                </c:pt>
                <c:pt idx="1352">
                  <c:v>43272</c:v>
                </c:pt>
                <c:pt idx="1353">
                  <c:v>43273</c:v>
                </c:pt>
              </c:numCache>
            </c:numRef>
          </c:cat>
          <c:val>
            <c:numRef>
              <c:f>time_series_A!$B$2:$B$1355</c:f>
              <c:numCache>
                <c:formatCode>General</c:formatCode>
                <c:ptCount val="1354"/>
                <c:pt idx="0">
                  <c:v>89999.722832549902</c:v>
                </c:pt>
                <c:pt idx="1">
                  <c:v>82653.081882629893</c:v>
                </c:pt>
                <c:pt idx="2">
                  <c:v>79489.314868529997</c:v>
                </c:pt>
                <c:pt idx="3">
                  <c:v>78701.486281289996</c:v>
                </c:pt>
                <c:pt idx="4">
                  <c:v>79596.945189479899</c:v>
                </c:pt>
                <c:pt idx="5">
                  <c:v>72734.437712879997</c:v>
                </c:pt>
                <c:pt idx="6">
                  <c:v>70496.199862259906</c:v>
                </c:pt>
                <c:pt idx="7">
                  <c:v>69563.547465779993</c:v>
                </c:pt>
                <c:pt idx="8">
                  <c:v>71378.554960559995</c:v>
                </c:pt>
                <c:pt idx="9">
                  <c:v>76044.390273659999</c:v>
                </c:pt>
                <c:pt idx="10">
                  <c:v>69679.848846840003</c:v>
                </c:pt>
                <c:pt idx="11">
                  <c:v>66979.413201959993</c:v>
                </c:pt>
                <c:pt idx="12">
                  <c:v>63564.561840750001</c:v>
                </c:pt>
                <c:pt idx="13">
                  <c:v>66742.523378519996</c:v>
                </c:pt>
                <c:pt idx="14">
                  <c:v>71208.400722359904</c:v>
                </c:pt>
                <c:pt idx="15">
                  <c:v>64641.155658509902</c:v>
                </c:pt>
                <c:pt idx="16">
                  <c:v>64996.578972869902</c:v>
                </c:pt>
                <c:pt idx="17">
                  <c:v>69862.042178489894</c:v>
                </c:pt>
                <c:pt idx="18">
                  <c:v>77802.419001419898</c:v>
                </c:pt>
                <c:pt idx="19">
                  <c:v>83078.377201319905</c:v>
                </c:pt>
                <c:pt idx="20">
                  <c:v>79373.729447759906</c:v>
                </c:pt>
                <c:pt idx="21">
                  <c:v>82842.915331379903</c:v>
                </c:pt>
                <c:pt idx="22">
                  <c:v>89519.48298606</c:v>
                </c:pt>
                <c:pt idx="23">
                  <c:v>83456.233355729899</c:v>
                </c:pt>
                <c:pt idx="24">
                  <c:v>80228.133462389902</c:v>
                </c:pt>
                <c:pt idx="25">
                  <c:v>77091.23627763</c:v>
                </c:pt>
                <c:pt idx="26">
                  <c:v>80205.547206239993</c:v>
                </c:pt>
                <c:pt idx="27">
                  <c:v>82469.505955349901</c:v>
                </c:pt>
                <c:pt idx="28">
                  <c:v>84303.174655379902</c:v>
                </c:pt>
                <c:pt idx="29">
                  <c:v>74369.7172289999</c:v>
                </c:pt>
                <c:pt idx="30">
                  <c:v>72310.382896019903</c:v>
                </c:pt>
                <c:pt idx="31">
                  <c:v>75356.593014359998</c:v>
                </c:pt>
                <c:pt idx="32">
                  <c:v>75320.291328509993</c:v>
                </c:pt>
                <c:pt idx="33">
                  <c:v>72064.608623909997</c:v>
                </c:pt>
                <c:pt idx="34">
                  <c:v>72977.00146005</c:v>
                </c:pt>
                <c:pt idx="35">
                  <c:v>77789.103170250004</c:v>
                </c:pt>
                <c:pt idx="36">
                  <c:v>94201.759651889995</c:v>
                </c:pt>
                <c:pt idx="37">
                  <c:v>101699.35704854999</c:v>
                </c:pt>
                <c:pt idx="38">
                  <c:v>99843.342678090004</c:v>
                </c:pt>
                <c:pt idx="39">
                  <c:v>111885.049179269</c:v>
                </c:pt>
                <c:pt idx="40">
                  <c:v>115242.977541959</c:v>
                </c:pt>
                <c:pt idx="41">
                  <c:v>102404.78480184</c:v>
                </c:pt>
                <c:pt idx="42">
                  <c:v>101635.319068799</c:v>
                </c:pt>
                <c:pt idx="43">
                  <c:v>87205.678447529994</c:v>
                </c:pt>
                <c:pt idx="44">
                  <c:v>86610.908386349896</c:v>
                </c:pt>
                <c:pt idx="45">
                  <c:v>82126.448389230005</c:v>
                </c:pt>
                <c:pt idx="46">
                  <c:v>76180.811565149997</c:v>
                </c:pt>
                <c:pt idx="47">
                  <c:v>72936.747263910001</c:v>
                </c:pt>
                <c:pt idx="48">
                  <c:v>71851.397471489996</c:v>
                </c:pt>
                <c:pt idx="49">
                  <c:v>74896.832024760006</c:v>
                </c:pt>
                <c:pt idx="50">
                  <c:v>79221.817785480001</c:v>
                </c:pt>
                <c:pt idx="51">
                  <c:v>70345.664259509998</c:v>
                </c:pt>
                <c:pt idx="52">
                  <c:v>68352.678337439997</c:v>
                </c:pt>
                <c:pt idx="53">
                  <c:v>69138.5578838699</c:v>
                </c:pt>
                <c:pt idx="54">
                  <c:v>75284.427797490003</c:v>
                </c:pt>
                <c:pt idx="55">
                  <c:v>77561.028935039896</c:v>
                </c:pt>
                <c:pt idx="56">
                  <c:v>72256.050622559997</c:v>
                </c:pt>
                <c:pt idx="57">
                  <c:v>71716.548998340004</c:v>
                </c:pt>
                <c:pt idx="58">
                  <c:v>77200.696799099998</c:v>
                </c:pt>
                <c:pt idx="59">
                  <c:v>84988.656753839896</c:v>
                </c:pt>
                <c:pt idx="60">
                  <c:v>85305.643361789902</c:v>
                </c:pt>
                <c:pt idx="61">
                  <c:v>86134.840088459896</c:v>
                </c:pt>
                <c:pt idx="62">
                  <c:v>88781.309915489896</c:v>
                </c:pt>
                <c:pt idx="63">
                  <c:v>83111.111215319994</c:v>
                </c:pt>
                <c:pt idx="64">
                  <c:v>85788.710960580007</c:v>
                </c:pt>
                <c:pt idx="65">
                  <c:v>93440.258513459994</c:v>
                </c:pt>
                <c:pt idx="66">
                  <c:v>88955.642613899894</c:v>
                </c:pt>
                <c:pt idx="67">
                  <c:v>90359.184615959995</c:v>
                </c:pt>
                <c:pt idx="68">
                  <c:v>87362.389813889997</c:v>
                </c:pt>
                <c:pt idx="69">
                  <c:v>86165.018387730001</c:v>
                </c:pt>
                <c:pt idx="70">
                  <c:v>89172.606630599999</c:v>
                </c:pt>
                <c:pt idx="71">
                  <c:v>79868.727935250005</c:v>
                </c:pt>
                <c:pt idx="72">
                  <c:v>77165.148847379998</c:v>
                </c:pt>
                <c:pt idx="73">
                  <c:v>76766.347549379905</c:v>
                </c:pt>
                <c:pt idx="74">
                  <c:v>77814.506053560006</c:v>
                </c:pt>
                <c:pt idx="75">
                  <c:v>80346.077760030006</c:v>
                </c:pt>
                <c:pt idx="76">
                  <c:v>76149.350100659998</c:v>
                </c:pt>
                <c:pt idx="77">
                  <c:v>75113.270961360002</c:v>
                </c:pt>
                <c:pt idx="78">
                  <c:v>84605.075086199999</c:v>
                </c:pt>
                <c:pt idx="79">
                  <c:v>95325.645678629895</c:v>
                </c:pt>
                <c:pt idx="80">
                  <c:v>100185.46360371</c:v>
                </c:pt>
                <c:pt idx="81">
                  <c:v>97974.186818939896</c:v>
                </c:pt>
                <c:pt idx="82">
                  <c:v>88320.125836649997</c:v>
                </c:pt>
                <c:pt idx="83">
                  <c:v>91874.971243679902</c:v>
                </c:pt>
                <c:pt idx="84">
                  <c:v>91705.230250769993</c:v>
                </c:pt>
                <c:pt idx="85">
                  <c:v>82323.756903329995</c:v>
                </c:pt>
                <c:pt idx="86">
                  <c:v>81408.835987350001</c:v>
                </c:pt>
                <c:pt idx="87">
                  <c:v>78067.740769290001</c:v>
                </c:pt>
                <c:pt idx="88">
                  <c:v>81606.531767070002</c:v>
                </c:pt>
                <c:pt idx="89">
                  <c:v>81793.447319280007</c:v>
                </c:pt>
                <c:pt idx="90">
                  <c:v>74400.342099989997</c:v>
                </c:pt>
                <c:pt idx="91">
                  <c:v>73161.093543449999</c:v>
                </c:pt>
                <c:pt idx="92">
                  <c:v>75117.538177529903</c:v>
                </c:pt>
                <c:pt idx="93">
                  <c:v>76997.931508559996</c:v>
                </c:pt>
                <c:pt idx="94">
                  <c:v>78982.105445069901</c:v>
                </c:pt>
                <c:pt idx="95">
                  <c:v>74314.007468850003</c:v>
                </c:pt>
                <c:pt idx="96">
                  <c:v>71403.9389125499</c:v>
                </c:pt>
                <c:pt idx="97">
                  <c:v>76033.341315389902</c:v>
                </c:pt>
                <c:pt idx="98">
                  <c:v>87490.553273039899</c:v>
                </c:pt>
                <c:pt idx="99">
                  <c:v>87128.195662949904</c:v>
                </c:pt>
                <c:pt idx="100">
                  <c:v>85141.673405819907</c:v>
                </c:pt>
                <c:pt idx="101">
                  <c:v>87268.289709569901</c:v>
                </c:pt>
                <c:pt idx="102">
                  <c:v>93163.758115529898</c:v>
                </c:pt>
                <c:pt idx="103">
                  <c:v>84622.49042319</c:v>
                </c:pt>
                <c:pt idx="104">
                  <c:v>85703.065431750001</c:v>
                </c:pt>
                <c:pt idx="105">
                  <c:v>78650.663537820001</c:v>
                </c:pt>
                <c:pt idx="106">
                  <c:v>79445.478347700002</c:v>
                </c:pt>
                <c:pt idx="107">
                  <c:v>83800.676754539905</c:v>
                </c:pt>
                <c:pt idx="108">
                  <c:v>85784.213755049903</c:v>
                </c:pt>
                <c:pt idx="109">
                  <c:v>90263.732649929996</c:v>
                </c:pt>
                <c:pt idx="110">
                  <c:v>78693.103143509899</c:v>
                </c:pt>
                <c:pt idx="111">
                  <c:v>79838.097108000002</c:v>
                </c:pt>
                <c:pt idx="112">
                  <c:v>86646.1452344399</c:v>
                </c:pt>
                <c:pt idx="113">
                  <c:v>84280.356156719994</c:v>
                </c:pt>
                <c:pt idx="114">
                  <c:v>73091.323418939995</c:v>
                </c:pt>
                <c:pt idx="115">
                  <c:v>81514.406687009905</c:v>
                </c:pt>
                <c:pt idx="116">
                  <c:v>80557.117659659998</c:v>
                </c:pt>
                <c:pt idx="117">
                  <c:v>76963.903412489904</c:v>
                </c:pt>
                <c:pt idx="118">
                  <c:v>77906.149807890004</c:v>
                </c:pt>
                <c:pt idx="119">
                  <c:v>81144.364519979907</c:v>
                </c:pt>
                <c:pt idx="120">
                  <c:v>87658.340027939994</c:v>
                </c:pt>
                <c:pt idx="121">
                  <c:v>95579.940886169905</c:v>
                </c:pt>
                <c:pt idx="122">
                  <c:v>85460.717544750005</c:v>
                </c:pt>
                <c:pt idx="123">
                  <c:v>86263.476814559996</c:v>
                </c:pt>
                <c:pt idx="124">
                  <c:v>87803.443515089995</c:v>
                </c:pt>
                <c:pt idx="125">
                  <c:v>86393.6648110799</c:v>
                </c:pt>
                <c:pt idx="126">
                  <c:v>74719.208267879905</c:v>
                </c:pt>
                <c:pt idx="127">
                  <c:v>71164.780080809898</c:v>
                </c:pt>
                <c:pt idx="128">
                  <c:v>74439.265525769995</c:v>
                </c:pt>
                <c:pt idx="129">
                  <c:v>76679.528097029994</c:v>
                </c:pt>
                <c:pt idx="130">
                  <c:v>72821.161108560002</c:v>
                </c:pt>
                <c:pt idx="131">
                  <c:v>67893.725750430007</c:v>
                </c:pt>
                <c:pt idx="132">
                  <c:v>68032.427960759902</c:v>
                </c:pt>
                <c:pt idx="133">
                  <c:v>72590.700337649905</c:v>
                </c:pt>
                <c:pt idx="134">
                  <c:v>78403.935788429997</c:v>
                </c:pt>
                <c:pt idx="135">
                  <c:v>73968.843979199897</c:v>
                </c:pt>
                <c:pt idx="136">
                  <c:v>78212.092681499897</c:v>
                </c:pt>
                <c:pt idx="137">
                  <c:v>86880.722004840005</c:v>
                </c:pt>
                <c:pt idx="138">
                  <c:v>94360.984298309893</c:v>
                </c:pt>
                <c:pt idx="139">
                  <c:v>86802.455197980002</c:v>
                </c:pt>
                <c:pt idx="140">
                  <c:v>89321.704571309994</c:v>
                </c:pt>
                <c:pt idx="141">
                  <c:v>93137.511787230003</c:v>
                </c:pt>
                <c:pt idx="142">
                  <c:v>90077.1654639599</c:v>
                </c:pt>
                <c:pt idx="143">
                  <c:v>88464.421257809998</c:v>
                </c:pt>
                <c:pt idx="144">
                  <c:v>81748.009981020004</c:v>
                </c:pt>
                <c:pt idx="145">
                  <c:v>75164.173034129999</c:v>
                </c:pt>
                <c:pt idx="146">
                  <c:v>75662.115287369903</c:v>
                </c:pt>
                <c:pt idx="147">
                  <c:v>79564.427412269899</c:v>
                </c:pt>
                <c:pt idx="148">
                  <c:v>79263.822790980004</c:v>
                </c:pt>
                <c:pt idx="149">
                  <c:v>71824.023980760001</c:v>
                </c:pt>
                <c:pt idx="150">
                  <c:v>70406.574911250005</c:v>
                </c:pt>
                <c:pt idx="151">
                  <c:v>71216.455355009995</c:v>
                </c:pt>
                <c:pt idx="152">
                  <c:v>72937.407320819897</c:v>
                </c:pt>
                <c:pt idx="153">
                  <c:v>72585.801115979993</c:v>
                </c:pt>
                <c:pt idx="154">
                  <c:v>67924.703376659905</c:v>
                </c:pt>
                <c:pt idx="155">
                  <c:v>67452.267676739895</c:v>
                </c:pt>
                <c:pt idx="156">
                  <c:v>66544.320342719904</c:v>
                </c:pt>
                <c:pt idx="157">
                  <c:v>74695.15256196</c:v>
                </c:pt>
                <c:pt idx="158">
                  <c:v>80974.621848119903</c:v>
                </c:pt>
                <c:pt idx="159">
                  <c:v>73908.485250599901</c:v>
                </c:pt>
                <c:pt idx="160">
                  <c:v>81657.662889359999</c:v>
                </c:pt>
                <c:pt idx="161">
                  <c:v>88363.079833169904</c:v>
                </c:pt>
                <c:pt idx="162">
                  <c:v>92161.330562699994</c:v>
                </c:pt>
                <c:pt idx="163">
                  <c:v>84525.366601109898</c:v>
                </c:pt>
                <c:pt idx="164">
                  <c:v>75256.054743779896</c:v>
                </c:pt>
                <c:pt idx="165">
                  <c:v>73523.3450654099</c:v>
                </c:pt>
                <c:pt idx="166">
                  <c:v>73958.957277719906</c:v>
                </c:pt>
                <c:pt idx="167">
                  <c:v>78003.716169389998</c:v>
                </c:pt>
                <c:pt idx="168">
                  <c:v>69720.917841600007</c:v>
                </c:pt>
                <c:pt idx="169">
                  <c:v>65996.591697900003</c:v>
                </c:pt>
                <c:pt idx="170">
                  <c:v>65763.521888519899</c:v>
                </c:pt>
                <c:pt idx="171">
                  <c:v>74374.110287279997</c:v>
                </c:pt>
                <c:pt idx="172">
                  <c:v>73241.730010199899</c:v>
                </c:pt>
                <c:pt idx="173">
                  <c:v>65202.616877309898</c:v>
                </c:pt>
                <c:pt idx="174">
                  <c:v>64524.965812859999</c:v>
                </c:pt>
                <c:pt idx="175">
                  <c:v>70464.654944849899</c:v>
                </c:pt>
                <c:pt idx="176">
                  <c:v>78714.169850819904</c:v>
                </c:pt>
                <c:pt idx="177">
                  <c:v>78997.659788849996</c:v>
                </c:pt>
                <c:pt idx="178">
                  <c:v>75223.157398859898</c:v>
                </c:pt>
                <c:pt idx="179">
                  <c:v>76953.3462549299</c:v>
                </c:pt>
                <c:pt idx="180">
                  <c:v>89384.190169889902</c:v>
                </c:pt>
                <c:pt idx="181">
                  <c:v>89802.7904532299</c:v>
                </c:pt>
                <c:pt idx="182">
                  <c:v>88380.217157489998</c:v>
                </c:pt>
                <c:pt idx="183">
                  <c:v>78931.007900850003</c:v>
                </c:pt>
                <c:pt idx="184">
                  <c:v>79476.622091039899</c:v>
                </c:pt>
                <c:pt idx="185">
                  <c:v>83955.108281369903</c:v>
                </c:pt>
                <c:pt idx="186">
                  <c:v>81439.370127300004</c:v>
                </c:pt>
                <c:pt idx="187">
                  <c:v>73944.439308449902</c:v>
                </c:pt>
                <c:pt idx="188">
                  <c:v>69764.324520959999</c:v>
                </c:pt>
                <c:pt idx="189">
                  <c:v>73488.657323609994</c:v>
                </c:pt>
                <c:pt idx="190">
                  <c:v>77274.848788980002</c:v>
                </c:pt>
                <c:pt idx="191">
                  <c:v>80065.5938436</c:v>
                </c:pt>
                <c:pt idx="192">
                  <c:v>80065.5938436</c:v>
                </c:pt>
                <c:pt idx="193">
                  <c:v>68481.722003939998</c:v>
                </c:pt>
                <c:pt idx="194">
                  <c:v>65735.429745839996</c:v>
                </c:pt>
                <c:pt idx="195">
                  <c:v>71143.283683260001</c:v>
                </c:pt>
                <c:pt idx="196">
                  <c:v>74352.916452029996</c:v>
                </c:pt>
                <c:pt idx="197">
                  <c:v>66755.741193299997</c:v>
                </c:pt>
                <c:pt idx="198">
                  <c:v>67080.159150779902</c:v>
                </c:pt>
                <c:pt idx="199">
                  <c:v>72897.046397519895</c:v>
                </c:pt>
                <c:pt idx="200">
                  <c:v>80731.519051619907</c:v>
                </c:pt>
                <c:pt idx="201">
                  <c:v>81585.365999250003</c:v>
                </c:pt>
                <c:pt idx="202">
                  <c:v>80894.500223999901</c:v>
                </c:pt>
                <c:pt idx="203">
                  <c:v>80894.500223999901</c:v>
                </c:pt>
                <c:pt idx="204">
                  <c:v>90256.822469699997</c:v>
                </c:pt>
                <c:pt idx="205">
                  <c:v>89963.192901570001</c:v>
                </c:pt>
                <c:pt idx="206">
                  <c:v>82402.1734077</c:v>
                </c:pt>
                <c:pt idx="207">
                  <c:v>75668.959638839995</c:v>
                </c:pt>
                <c:pt idx="208">
                  <c:v>73020.982814279996</c:v>
                </c:pt>
                <c:pt idx="209">
                  <c:v>72509.403628290005</c:v>
                </c:pt>
                <c:pt idx="210">
                  <c:v>75338.948498790007</c:v>
                </c:pt>
                <c:pt idx="211">
                  <c:v>77894.425132019896</c:v>
                </c:pt>
                <c:pt idx="212">
                  <c:v>67216.598833349999</c:v>
                </c:pt>
                <c:pt idx="213">
                  <c:v>65179.900402560001</c:v>
                </c:pt>
                <c:pt idx="214">
                  <c:v>67871.416410930004</c:v>
                </c:pt>
                <c:pt idx="215">
                  <c:v>71441.277033060003</c:v>
                </c:pt>
                <c:pt idx="216">
                  <c:v>70068.377860859997</c:v>
                </c:pt>
                <c:pt idx="217">
                  <c:v>63916.551584489898</c:v>
                </c:pt>
                <c:pt idx="218">
                  <c:v>63541.285852349902</c:v>
                </c:pt>
                <c:pt idx="219">
                  <c:v>66648.300286079902</c:v>
                </c:pt>
                <c:pt idx="220">
                  <c:v>72266.544907470001</c:v>
                </c:pt>
                <c:pt idx="221">
                  <c:v>74709.497701349901</c:v>
                </c:pt>
                <c:pt idx="222">
                  <c:v>71501.240124239994</c:v>
                </c:pt>
                <c:pt idx="223">
                  <c:v>70731.385576920002</c:v>
                </c:pt>
                <c:pt idx="224">
                  <c:v>77184.208225020004</c:v>
                </c:pt>
                <c:pt idx="225">
                  <c:v>90481.046570099905</c:v>
                </c:pt>
                <c:pt idx="226">
                  <c:v>78920.597698019905</c:v>
                </c:pt>
                <c:pt idx="227">
                  <c:v>73783.068938099997</c:v>
                </c:pt>
                <c:pt idx="228">
                  <c:v>72542.542361699903</c:v>
                </c:pt>
                <c:pt idx="229">
                  <c:v>78273.957645989896</c:v>
                </c:pt>
                <c:pt idx="230">
                  <c:v>79008.393204089996</c:v>
                </c:pt>
                <c:pt idx="231">
                  <c:v>77204.254348349903</c:v>
                </c:pt>
                <c:pt idx="232">
                  <c:v>68860.297813619996</c:v>
                </c:pt>
                <c:pt idx="233">
                  <c:v>65310.197539679997</c:v>
                </c:pt>
                <c:pt idx="234">
                  <c:v>66462.969026309904</c:v>
                </c:pt>
                <c:pt idx="235">
                  <c:v>70962.545905289895</c:v>
                </c:pt>
                <c:pt idx="236">
                  <c:v>73778.556502530002</c:v>
                </c:pt>
                <c:pt idx="237">
                  <c:v>65997.577561649901</c:v>
                </c:pt>
                <c:pt idx="238">
                  <c:v>62969.714178209899</c:v>
                </c:pt>
                <c:pt idx="239">
                  <c:v>65842.102352129994</c:v>
                </c:pt>
                <c:pt idx="240">
                  <c:v>70868.094685919903</c:v>
                </c:pt>
                <c:pt idx="241">
                  <c:v>72931.121373989998</c:v>
                </c:pt>
                <c:pt idx="242">
                  <c:v>71361.750640319995</c:v>
                </c:pt>
                <c:pt idx="243">
                  <c:v>77660.21861502</c:v>
                </c:pt>
                <c:pt idx="244">
                  <c:v>86116.362486389902</c:v>
                </c:pt>
                <c:pt idx="245">
                  <c:v>84426.59349657</c:v>
                </c:pt>
                <c:pt idx="246">
                  <c:v>85985.313892589897</c:v>
                </c:pt>
                <c:pt idx="247">
                  <c:v>87163.166489369905</c:v>
                </c:pt>
                <c:pt idx="248">
                  <c:v>84035.224111529998</c:v>
                </c:pt>
                <c:pt idx="249">
                  <c:v>86571.064795169907</c:v>
                </c:pt>
                <c:pt idx="250">
                  <c:v>86555.290303710004</c:v>
                </c:pt>
                <c:pt idx="251">
                  <c:v>74435.639825549995</c:v>
                </c:pt>
                <c:pt idx="252">
                  <c:v>72329.235663179905</c:v>
                </c:pt>
                <c:pt idx="253">
                  <c:v>71117.0795299499</c:v>
                </c:pt>
                <c:pt idx="254">
                  <c:v>74125.520197289996</c:v>
                </c:pt>
                <c:pt idx="255">
                  <c:v>76173.743493329996</c:v>
                </c:pt>
                <c:pt idx="256">
                  <c:v>69636.448221569997</c:v>
                </c:pt>
                <c:pt idx="257">
                  <c:v>67123.989700559905</c:v>
                </c:pt>
                <c:pt idx="258">
                  <c:v>69383.988961979994</c:v>
                </c:pt>
                <c:pt idx="259">
                  <c:v>70208.756745869905</c:v>
                </c:pt>
                <c:pt idx="260">
                  <c:v>73676.313417719997</c:v>
                </c:pt>
                <c:pt idx="261">
                  <c:v>69306.2947772099</c:v>
                </c:pt>
                <c:pt idx="262">
                  <c:v>67204.215668639896</c:v>
                </c:pt>
                <c:pt idx="263">
                  <c:v>70425.222183719903</c:v>
                </c:pt>
                <c:pt idx="264">
                  <c:v>82324.233615539997</c:v>
                </c:pt>
                <c:pt idx="265">
                  <c:v>84765.285789119996</c:v>
                </c:pt>
                <c:pt idx="266">
                  <c:v>83193.237103499996</c:v>
                </c:pt>
                <c:pt idx="267">
                  <c:v>85875.081942239907</c:v>
                </c:pt>
                <c:pt idx="268">
                  <c:v>93207.994818420004</c:v>
                </c:pt>
                <c:pt idx="269">
                  <c:v>95969.439325799904</c:v>
                </c:pt>
                <c:pt idx="270">
                  <c:v>88305.283374059902</c:v>
                </c:pt>
                <c:pt idx="271">
                  <c:v>81151.872311490006</c:v>
                </c:pt>
                <c:pt idx="272">
                  <c:v>82284.549301649895</c:v>
                </c:pt>
                <c:pt idx="273">
                  <c:v>84122.320556309904</c:v>
                </c:pt>
                <c:pt idx="274">
                  <c:v>84392.233768890001</c:v>
                </c:pt>
                <c:pt idx="275">
                  <c:v>78125.2958845799</c:v>
                </c:pt>
                <c:pt idx="276">
                  <c:v>75834.994111889901</c:v>
                </c:pt>
                <c:pt idx="277">
                  <c:v>77143.475090579901</c:v>
                </c:pt>
                <c:pt idx="278">
                  <c:v>76635.232299719995</c:v>
                </c:pt>
                <c:pt idx="279">
                  <c:v>71008.64832126</c:v>
                </c:pt>
                <c:pt idx="280">
                  <c:v>70329.361704659997</c:v>
                </c:pt>
                <c:pt idx="281">
                  <c:v>78127.03516539</c:v>
                </c:pt>
                <c:pt idx="282">
                  <c:v>91753.012440539998</c:v>
                </c:pt>
                <c:pt idx="283">
                  <c:v>99479.182338749903</c:v>
                </c:pt>
                <c:pt idx="284">
                  <c:v>103804.38623298</c:v>
                </c:pt>
                <c:pt idx="285">
                  <c:v>107017.50889416</c:v>
                </c:pt>
                <c:pt idx="286">
                  <c:v>125165.88665166</c:v>
                </c:pt>
                <c:pt idx="287">
                  <c:v>130459.65710796</c:v>
                </c:pt>
                <c:pt idx="288">
                  <c:v>114864.081057599</c:v>
                </c:pt>
                <c:pt idx="289">
                  <c:v>93594.384380910007</c:v>
                </c:pt>
                <c:pt idx="290">
                  <c:v>88081.315012410007</c:v>
                </c:pt>
                <c:pt idx="291">
                  <c:v>78481.260223289995</c:v>
                </c:pt>
                <c:pt idx="292">
                  <c:v>74864.961045659904</c:v>
                </c:pt>
                <c:pt idx="293">
                  <c:v>73680.724837439993</c:v>
                </c:pt>
                <c:pt idx="294">
                  <c:v>76809.066792450001</c:v>
                </c:pt>
                <c:pt idx="295">
                  <c:v>82212.575849639994</c:v>
                </c:pt>
                <c:pt idx="296">
                  <c:v>76536.364539329996</c:v>
                </c:pt>
                <c:pt idx="297">
                  <c:v>71325.113441909896</c:v>
                </c:pt>
                <c:pt idx="298">
                  <c:v>71204.496530010001</c:v>
                </c:pt>
                <c:pt idx="299">
                  <c:v>75980.675558489893</c:v>
                </c:pt>
                <c:pt idx="300">
                  <c:v>79773.328817129994</c:v>
                </c:pt>
                <c:pt idx="301">
                  <c:v>76174.445349329995</c:v>
                </c:pt>
                <c:pt idx="302">
                  <c:v>73377.371195279993</c:v>
                </c:pt>
                <c:pt idx="303">
                  <c:v>78053.816052599999</c:v>
                </c:pt>
                <c:pt idx="304">
                  <c:v>91151.062148849902</c:v>
                </c:pt>
                <c:pt idx="305">
                  <c:v>101806.68563829</c:v>
                </c:pt>
                <c:pt idx="306">
                  <c:v>102145.355712719</c:v>
                </c:pt>
                <c:pt idx="307">
                  <c:v>95987.56497603</c:v>
                </c:pt>
                <c:pt idx="308">
                  <c:v>98903.608009379997</c:v>
                </c:pt>
                <c:pt idx="309">
                  <c:v>98923.862633879995</c:v>
                </c:pt>
                <c:pt idx="310">
                  <c:v>93838.726777620002</c:v>
                </c:pt>
                <c:pt idx="311">
                  <c:v>86989.342541010003</c:v>
                </c:pt>
                <c:pt idx="312">
                  <c:v>80423.662821509904</c:v>
                </c:pt>
                <c:pt idx="313">
                  <c:v>82734.4796219399</c:v>
                </c:pt>
                <c:pt idx="314">
                  <c:v>81391.724013419996</c:v>
                </c:pt>
                <c:pt idx="315">
                  <c:v>82084.062573899995</c:v>
                </c:pt>
                <c:pt idx="316">
                  <c:v>74910.667112879994</c:v>
                </c:pt>
                <c:pt idx="317">
                  <c:v>75851.303923649903</c:v>
                </c:pt>
                <c:pt idx="318">
                  <c:v>80856.162513870004</c:v>
                </c:pt>
                <c:pt idx="319">
                  <c:v>84302.390224649906</c:v>
                </c:pt>
                <c:pt idx="320">
                  <c:v>79204.09562901</c:v>
                </c:pt>
                <c:pt idx="321">
                  <c:v>78095.097311639896</c:v>
                </c:pt>
                <c:pt idx="322">
                  <c:v>80197.143422939902</c:v>
                </c:pt>
                <c:pt idx="323">
                  <c:v>91078.504986209999</c:v>
                </c:pt>
                <c:pt idx="324">
                  <c:v>93745.010944979993</c:v>
                </c:pt>
                <c:pt idx="325">
                  <c:v>90831.045876299904</c:v>
                </c:pt>
                <c:pt idx="326">
                  <c:v>92883.990218999999</c:v>
                </c:pt>
                <c:pt idx="327">
                  <c:v>100743.47573709</c:v>
                </c:pt>
                <c:pt idx="328">
                  <c:v>94017.392272380006</c:v>
                </c:pt>
                <c:pt idx="329">
                  <c:v>90632.108012790006</c:v>
                </c:pt>
                <c:pt idx="330">
                  <c:v>84802.051372260001</c:v>
                </c:pt>
                <c:pt idx="331">
                  <c:v>79170.636134700006</c:v>
                </c:pt>
                <c:pt idx="332">
                  <c:v>81823.019676419994</c:v>
                </c:pt>
                <c:pt idx="333">
                  <c:v>81265.903105649893</c:v>
                </c:pt>
                <c:pt idx="334">
                  <c:v>83670.978615779997</c:v>
                </c:pt>
                <c:pt idx="335">
                  <c:v>75880.386101249998</c:v>
                </c:pt>
                <c:pt idx="336">
                  <c:v>72848.371745910001</c:v>
                </c:pt>
                <c:pt idx="337">
                  <c:v>75423.639825059901</c:v>
                </c:pt>
                <c:pt idx="338">
                  <c:v>80313.50965788</c:v>
                </c:pt>
                <c:pt idx="339">
                  <c:v>79362.626227649904</c:v>
                </c:pt>
                <c:pt idx="340">
                  <c:v>74640.931377479894</c:v>
                </c:pt>
                <c:pt idx="341">
                  <c:v>72848.718198089904</c:v>
                </c:pt>
                <c:pt idx="342">
                  <c:v>75337.983330000003</c:v>
                </c:pt>
                <c:pt idx="343">
                  <c:v>88268.969518559898</c:v>
                </c:pt>
                <c:pt idx="344">
                  <c:v>90540.960830609998</c:v>
                </c:pt>
                <c:pt idx="345">
                  <c:v>85126.891223819897</c:v>
                </c:pt>
                <c:pt idx="346">
                  <c:v>85681.007095769906</c:v>
                </c:pt>
                <c:pt idx="347">
                  <c:v>91195.6473541499</c:v>
                </c:pt>
                <c:pt idx="348">
                  <c:v>102888.337136099</c:v>
                </c:pt>
                <c:pt idx="349">
                  <c:v>94479.271452359899</c:v>
                </c:pt>
                <c:pt idx="350">
                  <c:v>89366.69806101</c:v>
                </c:pt>
                <c:pt idx="351">
                  <c:v>86880.679724429996</c:v>
                </c:pt>
                <c:pt idx="352">
                  <c:v>89023.833719040005</c:v>
                </c:pt>
                <c:pt idx="353">
                  <c:v>94886.586455939905</c:v>
                </c:pt>
                <c:pt idx="354">
                  <c:v>93510.622867229904</c:v>
                </c:pt>
                <c:pt idx="355">
                  <c:v>82162.10955768</c:v>
                </c:pt>
                <c:pt idx="356">
                  <c:v>81951.652865129901</c:v>
                </c:pt>
                <c:pt idx="357">
                  <c:v>85557.616830839994</c:v>
                </c:pt>
                <c:pt idx="358">
                  <c:v>85002.226900830006</c:v>
                </c:pt>
                <c:pt idx="359">
                  <c:v>77235.035177309997</c:v>
                </c:pt>
                <c:pt idx="360">
                  <c:v>78709.445560380002</c:v>
                </c:pt>
                <c:pt idx="361">
                  <c:v>79331.310457169995</c:v>
                </c:pt>
                <c:pt idx="362">
                  <c:v>74635.05187245</c:v>
                </c:pt>
                <c:pt idx="363">
                  <c:v>75353.023814129905</c:v>
                </c:pt>
                <c:pt idx="364">
                  <c:v>81230.826319799904</c:v>
                </c:pt>
                <c:pt idx="365">
                  <c:v>92912.873627609893</c:v>
                </c:pt>
                <c:pt idx="366">
                  <c:v>95731.519499729897</c:v>
                </c:pt>
                <c:pt idx="367">
                  <c:v>96322.60905246</c:v>
                </c:pt>
                <c:pt idx="368">
                  <c:v>90675.068588580005</c:v>
                </c:pt>
                <c:pt idx="369">
                  <c:v>94713.756925199996</c:v>
                </c:pt>
                <c:pt idx="370">
                  <c:v>94168.331624309998</c:v>
                </c:pt>
                <c:pt idx="371">
                  <c:v>79315.522444019996</c:v>
                </c:pt>
                <c:pt idx="372">
                  <c:v>76408.767346919994</c:v>
                </c:pt>
                <c:pt idx="373">
                  <c:v>79592.46759534</c:v>
                </c:pt>
                <c:pt idx="374">
                  <c:v>82107.006230369996</c:v>
                </c:pt>
                <c:pt idx="375">
                  <c:v>80339.477077949996</c:v>
                </c:pt>
                <c:pt idx="376">
                  <c:v>74314.202422499904</c:v>
                </c:pt>
                <c:pt idx="377">
                  <c:v>76132.010540520001</c:v>
                </c:pt>
                <c:pt idx="378">
                  <c:v>79973.233033800003</c:v>
                </c:pt>
                <c:pt idx="379">
                  <c:v>72678.283597050002</c:v>
                </c:pt>
                <c:pt idx="380">
                  <c:v>71699.304389489902</c:v>
                </c:pt>
                <c:pt idx="381">
                  <c:v>74045.167310909994</c:v>
                </c:pt>
                <c:pt idx="382">
                  <c:v>88759.346144159994</c:v>
                </c:pt>
                <c:pt idx="383">
                  <c:v>90043.765778369998</c:v>
                </c:pt>
                <c:pt idx="384">
                  <c:v>88609.396286639996</c:v>
                </c:pt>
                <c:pt idx="385">
                  <c:v>91439.251263059894</c:v>
                </c:pt>
                <c:pt idx="386">
                  <c:v>99378.235871729994</c:v>
                </c:pt>
                <c:pt idx="387">
                  <c:v>102363.55643562</c:v>
                </c:pt>
                <c:pt idx="388">
                  <c:v>92884.635436349898</c:v>
                </c:pt>
                <c:pt idx="389">
                  <c:v>87210.817739909995</c:v>
                </c:pt>
                <c:pt idx="390">
                  <c:v>80966.146884059897</c:v>
                </c:pt>
                <c:pt idx="391">
                  <c:v>76754.139661110006</c:v>
                </c:pt>
                <c:pt idx="392">
                  <c:v>78851.751770100003</c:v>
                </c:pt>
                <c:pt idx="393">
                  <c:v>81641.759754539904</c:v>
                </c:pt>
                <c:pt idx="394">
                  <c:v>73168.704783330002</c:v>
                </c:pt>
                <c:pt idx="395">
                  <c:v>69925.324287179901</c:v>
                </c:pt>
                <c:pt idx="396">
                  <c:v>70625.343923249995</c:v>
                </c:pt>
                <c:pt idx="397">
                  <c:v>74218.089507059995</c:v>
                </c:pt>
                <c:pt idx="398">
                  <c:v>75057.752354819997</c:v>
                </c:pt>
                <c:pt idx="399">
                  <c:v>68289.004818899994</c:v>
                </c:pt>
                <c:pt idx="400">
                  <c:v>67081.276107929996</c:v>
                </c:pt>
                <c:pt idx="401">
                  <c:v>70350.106053659998</c:v>
                </c:pt>
                <c:pt idx="402">
                  <c:v>78042.940917749904</c:v>
                </c:pt>
                <c:pt idx="403">
                  <c:v>81559.952023019898</c:v>
                </c:pt>
                <c:pt idx="404">
                  <c:v>80233.811428199901</c:v>
                </c:pt>
                <c:pt idx="405">
                  <c:v>78723.123420329997</c:v>
                </c:pt>
                <c:pt idx="406">
                  <c:v>86189.1252375599</c:v>
                </c:pt>
                <c:pt idx="407">
                  <c:v>101201.74600395</c:v>
                </c:pt>
                <c:pt idx="408">
                  <c:v>94796.433146130003</c:v>
                </c:pt>
                <c:pt idx="409">
                  <c:v>86186.098934429901</c:v>
                </c:pt>
                <c:pt idx="410">
                  <c:v>80985.822327479895</c:v>
                </c:pt>
                <c:pt idx="411">
                  <c:v>81307.043394420005</c:v>
                </c:pt>
                <c:pt idx="412">
                  <c:v>80134.160577959905</c:v>
                </c:pt>
                <c:pt idx="413">
                  <c:v>73902.840907499995</c:v>
                </c:pt>
                <c:pt idx="414">
                  <c:v>74614.694390699995</c:v>
                </c:pt>
                <c:pt idx="415">
                  <c:v>77965.78580949</c:v>
                </c:pt>
                <c:pt idx="416">
                  <c:v>80121.010506959894</c:v>
                </c:pt>
                <c:pt idx="417">
                  <c:v>69697.932993959999</c:v>
                </c:pt>
                <c:pt idx="418">
                  <c:v>65510.043880349898</c:v>
                </c:pt>
                <c:pt idx="419">
                  <c:v>65847.521978730001</c:v>
                </c:pt>
                <c:pt idx="420">
                  <c:v>72089.675654699997</c:v>
                </c:pt>
                <c:pt idx="421">
                  <c:v>75174.617438579997</c:v>
                </c:pt>
                <c:pt idx="422">
                  <c:v>70188.971663880002</c:v>
                </c:pt>
                <c:pt idx="423">
                  <c:v>70680.597562649898</c:v>
                </c:pt>
                <c:pt idx="424">
                  <c:v>77812.850424660006</c:v>
                </c:pt>
                <c:pt idx="425">
                  <c:v>88720.682093729905</c:v>
                </c:pt>
                <c:pt idx="426">
                  <c:v>88635.904760069898</c:v>
                </c:pt>
                <c:pt idx="427">
                  <c:v>89373.787263329898</c:v>
                </c:pt>
                <c:pt idx="428">
                  <c:v>90839.58348981</c:v>
                </c:pt>
                <c:pt idx="429">
                  <c:v>85666.119777599903</c:v>
                </c:pt>
                <c:pt idx="430">
                  <c:v>88762.461104310001</c:v>
                </c:pt>
                <c:pt idx="431">
                  <c:v>88384.376550750007</c:v>
                </c:pt>
                <c:pt idx="432">
                  <c:v>76699.409176410001</c:v>
                </c:pt>
                <c:pt idx="433">
                  <c:v>74194.223150580001</c:v>
                </c:pt>
                <c:pt idx="434">
                  <c:v>79589.354494950006</c:v>
                </c:pt>
                <c:pt idx="435">
                  <c:v>80375.229631800001</c:v>
                </c:pt>
                <c:pt idx="436">
                  <c:v>86198.890639049903</c:v>
                </c:pt>
                <c:pt idx="437">
                  <c:v>74323.202681309995</c:v>
                </c:pt>
                <c:pt idx="438">
                  <c:v>71124.926932319999</c:v>
                </c:pt>
                <c:pt idx="439">
                  <c:v>73074.091514400003</c:v>
                </c:pt>
                <c:pt idx="440">
                  <c:v>69519.4456716899</c:v>
                </c:pt>
                <c:pt idx="441">
                  <c:v>67147.128812790004</c:v>
                </c:pt>
                <c:pt idx="442">
                  <c:v>72260.181602130004</c:v>
                </c:pt>
                <c:pt idx="443">
                  <c:v>85108.112665979905</c:v>
                </c:pt>
                <c:pt idx="444">
                  <c:v>84817.515199079993</c:v>
                </c:pt>
                <c:pt idx="445">
                  <c:v>83076.457825079997</c:v>
                </c:pt>
                <c:pt idx="446">
                  <c:v>85044.428896649901</c:v>
                </c:pt>
                <c:pt idx="447">
                  <c:v>91176.892365299995</c:v>
                </c:pt>
                <c:pt idx="448">
                  <c:v>97517.442984540001</c:v>
                </c:pt>
                <c:pt idx="449">
                  <c:v>88665.145171080003</c:v>
                </c:pt>
                <c:pt idx="450">
                  <c:v>78376.474449929898</c:v>
                </c:pt>
                <c:pt idx="451">
                  <c:v>76589.962720950003</c:v>
                </c:pt>
                <c:pt idx="452">
                  <c:v>77963.363925179903</c:v>
                </c:pt>
                <c:pt idx="453">
                  <c:v>73762.637837399903</c:v>
                </c:pt>
                <c:pt idx="454">
                  <c:v>80075.441603250001</c:v>
                </c:pt>
                <c:pt idx="455">
                  <c:v>70748.636278739999</c:v>
                </c:pt>
                <c:pt idx="456">
                  <c:v>66496.137027449993</c:v>
                </c:pt>
                <c:pt idx="457">
                  <c:v>68994.880737119995</c:v>
                </c:pt>
                <c:pt idx="458">
                  <c:v>72807.342025589998</c:v>
                </c:pt>
                <c:pt idx="459">
                  <c:v>73369.175683889902</c:v>
                </c:pt>
                <c:pt idx="460">
                  <c:v>65276.721420419999</c:v>
                </c:pt>
                <c:pt idx="461">
                  <c:v>62811.508318709901</c:v>
                </c:pt>
                <c:pt idx="462">
                  <c:v>66808.772755799902</c:v>
                </c:pt>
                <c:pt idx="463">
                  <c:v>74762.829886980006</c:v>
                </c:pt>
                <c:pt idx="464">
                  <c:v>77167.760314949905</c:v>
                </c:pt>
                <c:pt idx="465">
                  <c:v>73070.8967748</c:v>
                </c:pt>
                <c:pt idx="466">
                  <c:v>76125.903251159994</c:v>
                </c:pt>
                <c:pt idx="467">
                  <c:v>78738.192146069894</c:v>
                </c:pt>
                <c:pt idx="468">
                  <c:v>95795.400636539998</c:v>
                </c:pt>
                <c:pt idx="469">
                  <c:v>97337.162923649899</c:v>
                </c:pt>
                <c:pt idx="470">
                  <c:v>81706.776435269901</c:v>
                </c:pt>
                <c:pt idx="471">
                  <c:v>76603.815657180006</c:v>
                </c:pt>
                <c:pt idx="472">
                  <c:v>79268.859648029902</c:v>
                </c:pt>
                <c:pt idx="473">
                  <c:v>83759.287174140001</c:v>
                </c:pt>
                <c:pt idx="474">
                  <c:v>84206.208626579901</c:v>
                </c:pt>
                <c:pt idx="475">
                  <c:v>75847.649431199898</c:v>
                </c:pt>
                <c:pt idx="476">
                  <c:v>72299.139476669996</c:v>
                </c:pt>
                <c:pt idx="477">
                  <c:v>73215.833367029903</c:v>
                </c:pt>
                <c:pt idx="478">
                  <c:v>74366.185548089998</c:v>
                </c:pt>
                <c:pt idx="479">
                  <c:v>78389.069321400006</c:v>
                </c:pt>
                <c:pt idx="480">
                  <c:v>71348.437713509906</c:v>
                </c:pt>
                <c:pt idx="481">
                  <c:v>66264.884291429902</c:v>
                </c:pt>
                <c:pt idx="482">
                  <c:v>68547.558514079996</c:v>
                </c:pt>
                <c:pt idx="483">
                  <c:v>73341.808639739902</c:v>
                </c:pt>
                <c:pt idx="484">
                  <c:v>76389.907012979995</c:v>
                </c:pt>
                <c:pt idx="485">
                  <c:v>70765.085653260001</c:v>
                </c:pt>
                <c:pt idx="486">
                  <c:v>78816.662488620001</c:v>
                </c:pt>
                <c:pt idx="487">
                  <c:v>90783.63973209</c:v>
                </c:pt>
                <c:pt idx="488">
                  <c:v>91018.062149849997</c:v>
                </c:pt>
                <c:pt idx="489">
                  <c:v>85178.030834309902</c:v>
                </c:pt>
                <c:pt idx="490">
                  <c:v>87841.310630520005</c:v>
                </c:pt>
                <c:pt idx="491">
                  <c:v>92552.162018039904</c:v>
                </c:pt>
                <c:pt idx="492">
                  <c:v>93968.864119619902</c:v>
                </c:pt>
                <c:pt idx="493">
                  <c:v>90584.245741619903</c:v>
                </c:pt>
                <c:pt idx="494">
                  <c:v>82088.159145090001</c:v>
                </c:pt>
                <c:pt idx="495">
                  <c:v>75880.113336239898</c:v>
                </c:pt>
                <c:pt idx="496">
                  <c:v>76612.793143260002</c:v>
                </c:pt>
                <c:pt idx="497">
                  <c:v>78745.687127639903</c:v>
                </c:pt>
                <c:pt idx="498">
                  <c:v>79303.006669139897</c:v>
                </c:pt>
                <c:pt idx="499">
                  <c:v>71854.88341101</c:v>
                </c:pt>
                <c:pt idx="500">
                  <c:v>68908.953814919994</c:v>
                </c:pt>
                <c:pt idx="501">
                  <c:v>70934.973754920007</c:v>
                </c:pt>
                <c:pt idx="502">
                  <c:v>74020.875185969999</c:v>
                </c:pt>
                <c:pt idx="503">
                  <c:v>73621.171662690002</c:v>
                </c:pt>
                <c:pt idx="504">
                  <c:v>69196.915042620007</c:v>
                </c:pt>
                <c:pt idx="505">
                  <c:v>66964.882094789995</c:v>
                </c:pt>
                <c:pt idx="506">
                  <c:v>69249.789125639902</c:v>
                </c:pt>
                <c:pt idx="507">
                  <c:v>84493.628323860001</c:v>
                </c:pt>
                <c:pt idx="508">
                  <c:v>86488.582279440001</c:v>
                </c:pt>
                <c:pt idx="509">
                  <c:v>80950.722732569993</c:v>
                </c:pt>
                <c:pt idx="510">
                  <c:v>85477.745442389903</c:v>
                </c:pt>
                <c:pt idx="511">
                  <c:v>93500.224361400004</c:v>
                </c:pt>
                <c:pt idx="512">
                  <c:v>99091.324685489904</c:v>
                </c:pt>
                <c:pt idx="513">
                  <c:v>88712.298350849902</c:v>
                </c:pt>
                <c:pt idx="514">
                  <c:v>81157.437143339994</c:v>
                </c:pt>
                <c:pt idx="515">
                  <c:v>83150.316852959993</c:v>
                </c:pt>
                <c:pt idx="516">
                  <c:v>87039.001837770003</c:v>
                </c:pt>
                <c:pt idx="517">
                  <c:v>87636.927290129999</c:v>
                </c:pt>
                <c:pt idx="518">
                  <c:v>77158.016057700006</c:v>
                </c:pt>
                <c:pt idx="519">
                  <c:v>74711.95095246</c:v>
                </c:pt>
                <c:pt idx="520">
                  <c:v>76080.160464689907</c:v>
                </c:pt>
                <c:pt idx="521">
                  <c:v>76163.525685750006</c:v>
                </c:pt>
                <c:pt idx="522">
                  <c:v>69271.821273690002</c:v>
                </c:pt>
                <c:pt idx="523">
                  <c:v>67438.2236430599</c:v>
                </c:pt>
                <c:pt idx="524">
                  <c:v>72376.163670809998</c:v>
                </c:pt>
                <c:pt idx="525">
                  <c:v>86764.9563870899</c:v>
                </c:pt>
                <c:pt idx="526">
                  <c:v>85849.893310950007</c:v>
                </c:pt>
                <c:pt idx="527">
                  <c:v>88156.104429089901</c:v>
                </c:pt>
                <c:pt idx="528">
                  <c:v>97439.263424639896</c:v>
                </c:pt>
                <c:pt idx="529">
                  <c:v>100858.54762077</c:v>
                </c:pt>
                <c:pt idx="530">
                  <c:v>120714.31072025999</c:v>
                </c:pt>
                <c:pt idx="531">
                  <c:v>130422.99276285</c:v>
                </c:pt>
                <c:pt idx="532">
                  <c:v>137238.67903892999</c:v>
                </c:pt>
                <c:pt idx="533">
                  <c:v>105121.92704856</c:v>
                </c:pt>
                <c:pt idx="534">
                  <c:v>88259.392955520001</c:v>
                </c:pt>
                <c:pt idx="535">
                  <c:v>78750.945070710004</c:v>
                </c:pt>
                <c:pt idx="536">
                  <c:v>77862.500957879995</c:v>
                </c:pt>
                <c:pt idx="537">
                  <c:v>80366.598225479902</c:v>
                </c:pt>
                <c:pt idx="538">
                  <c:v>82154.059396800003</c:v>
                </c:pt>
                <c:pt idx="539">
                  <c:v>75974.305081229904</c:v>
                </c:pt>
                <c:pt idx="540">
                  <c:v>72408.328737420001</c:v>
                </c:pt>
                <c:pt idx="541">
                  <c:v>71878.363506359994</c:v>
                </c:pt>
                <c:pt idx="542">
                  <c:v>77932.249839869997</c:v>
                </c:pt>
                <c:pt idx="543">
                  <c:v>80074.063793489899</c:v>
                </c:pt>
                <c:pt idx="544">
                  <c:v>73967.024163029899</c:v>
                </c:pt>
                <c:pt idx="545">
                  <c:v>76200.004252049999</c:v>
                </c:pt>
                <c:pt idx="546">
                  <c:v>79636.716075539996</c:v>
                </c:pt>
                <c:pt idx="547">
                  <c:v>91004.42639439</c:v>
                </c:pt>
                <c:pt idx="548">
                  <c:v>89397.367322939899</c:v>
                </c:pt>
                <c:pt idx="549">
                  <c:v>87115.70390208</c:v>
                </c:pt>
                <c:pt idx="550">
                  <c:v>87977.104760040005</c:v>
                </c:pt>
                <c:pt idx="551">
                  <c:v>99416.031226499996</c:v>
                </c:pt>
                <c:pt idx="552">
                  <c:v>95084.019418559998</c:v>
                </c:pt>
                <c:pt idx="553">
                  <c:v>90008.411959919904</c:v>
                </c:pt>
                <c:pt idx="554">
                  <c:v>84152.212567530005</c:v>
                </c:pt>
                <c:pt idx="555">
                  <c:v>80961.243292739906</c:v>
                </c:pt>
                <c:pt idx="556">
                  <c:v>80132.742642839905</c:v>
                </c:pt>
                <c:pt idx="557">
                  <c:v>78572.737100639904</c:v>
                </c:pt>
                <c:pt idx="558">
                  <c:v>74102.914457009902</c:v>
                </c:pt>
                <c:pt idx="559">
                  <c:v>84634.454738610002</c:v>
                </c:pt>
                <c:pt idx="560">
                  <c:v>93202.969677569898</c:v>
                </c:pt>
                <c:pt idx="561">
                  <c:v>91377.126257789903</c:v>
                </c:pt>
                <c:pt idx="562">
                  <c:v>79130.292590609999</c:v>
                </c:pt>
                <c:pt idx="563">
                  <c:v>76314.837981420002</c:v>
                </c:pt>
                <c:pt idx="564">
                  <c:v>80004.621417749993</c:v>
                </c:pt>
                <c:pt idx="565">
                  <c:v>93688.129410419904</c:v>
                </c:pt>
                <c:pt idx="566">
                  <c:v>95206.193538389896</c:v>
                </c:pt>
                <c:pt idx="567">
                  <c:v>95438.763944849896</c:v>
                </c:pt>
                <c:pt idx="568">
                  <c:v>97213.953245489902</c:v>
                </c:pt>
                <c:pt idx="569">
                  <c:v>105779.9495901</c:v>
                </c:pt>
                <c:pt idx="570">
                  <c:v>108498.02383833</c:v>
                </c:pt>
                <c:pt idx="571">
                  <c:v>97051.711365809897</c:v>
                </c:pt>
                <c:pt idx="572">
                  <c:v>92355.532778219902</c:v>
                </c:pt>
                <c:pt idx="573">
                  <c:v>92073.898356059901</c:v>
                </c:pt>
                <c:pt idx="574">
                  <c:v>96454.474229549902</c:v>
                </c:pt>
                <c:pt idx="575">
                  <c:v>89682.664888950007</c:v>
                </c:pt>
                <c:pt idx="576">
                  <c:v>79986.597818519993</c:v>
                </c:pt>
                <c:pt idx="577">
                  <c:v>76325.174723460004</c:v>
                </c:pt>
                <c:pt idx="578">
                  <c:v>77229.762340889996</c:v>
                </c:pt>
                <c:pt idx="579">
                  <c:v>83939.156490239897</c:v>
                </c:pt>
                <c:pt idx="580">
                  <c:v>81536.215779719903</c:v>
                </c:pt>
                <c:pt idx="581">
                  <c:v>75592.139426459995</c:v>
                </c:pt>
                <c:pt idx="582">
                  <c:v>72804.730138079904</c:v>
                </c:pt>
                <c:pt idx="583">
                  <c:v>75925.699256819906</c:v>
                </c:pt>
                <c:pt idx="584">
                  <c:v>86288.8806516599</c:v>
                </c:pt>
                <c:pt idx="585">
                  <c:v>86594.159381220001</c:v>
                </c:pt>
                <c:pt idx="586">
                  <c:v>83689.838247719905</c:v>
                </c:pt>
                <c:pt idx="587">
                  <c:v>82918.123691549903</c:v>
                </c:pt>
                <c:pt idx="588">
                  <c:v>86951.862372989897</c:v>
                </c:pt>
                <c:pt idx="589">
                  <c:v>106266.12007647</c:v>
                </c:pt>
                <c:pt idx="590">
                  <c:v>104477.18623782</c:v>
                </c:pt>
                <c:pt idx="591">
                  <c:v>90750.470760479904</c:v>
                </c:pt>
                <c:pt idx="592">
                  <c:v>85665.841500869996</c:v>
                </c:pt>
                <c:pt idx="593">
                  <c:v>88233.928274129998</c:v>
                </c:pt>
                <c:pt idx="594">
                  <c:v>100580.894794769</c:v>
                </c:pt>
                <c:pt idx="595">
                  <c:v>96826.963048949998</c:v>
                </c:pt>
                <c:pt idx="596">
                  <c:v>85928.662399679903</c:v>
                </c:pt>
                <c:pt idx="597">
                  <c:v>90565.728237929899</c:v>
                </c:pt>
                <c:pt idx="598">
                  <c:v>91091.720561249997</c:v>
                </c:pt>
                <c:pt idx="599">
                  <c:v>90504.858419280004</c:v>
                </c:pt>
                <c:pt idx="600">
                  <c:v>84022.536669120003</c:v>
                </c:pt>
                <c:pt idx="601">
                  <c:v>82120.080579419999</c:v>
                </c:pt>
                <c:pt idx="602">
                  <c:v>77523.633759149903</c:v>
                </c:pt>
                <c:pt idx="603">
                  <c:v>74756.537514750002</c:v>
                </c:pt>
                <c:pt idx="604">
                  <c:v>78804.570673049995</c:v>
                </c:pt>
                <c:pt idx="605">
                  <c:v>94288.906494030001</c:v>
                </c:pt>
                <c:pt idx="606">
                  <c:v>94264.117738109999</c:v>
                </c:pt>
                <c:pt idx="607">
                  <c:v>91836.048247079903</c:v>
                </c:pt>
                <c:pt idx="608">
                  <c:v>105514.832759339</c:v>
                </c:pt>
                <c:pt idx="609">
                  <c:v>105582.640767359</c:v>
                </c:pt>
                <c:pt idx="610">
                  <c:v>98258.162441280001</c:v>
                </c:pt>
                <c:pt idx="611">
                  <c:v>83207.489454059905</c:v>
                </c:pt>
                <c:pt idx="612">
                  <c:v>84226.378936110006</c:v>
                </c:pt>
                <c:pt idx="613">
                  <c:v>83428.680816569904</c:v>
                </c:pt>
                <c:pt idx="614">
                  <c:v>76581.043584629995</c:v>
                </c:pt>
                <c:pt idx="615">
                  <c:v>72395.696210219903</c:v>
                </c:pt>
                <c:pt idx="616">
                  <c:v>73440.909968520005</c:v>
                </c:pt>
                <c:pt idx="617">
                  <c:v>76345.9754302199</c:v>
                </c:pt>
                <c:pt idx="618">
                  <c:v>78566.018845769897</c:v>
                </c:pt>
                <c:pt idx="619">
                  <c:v>74299.722604020004</c:v>
                </c:pt>
                <c:pt idx="620">
                  <c:v>70364.603240939905</c:v>
                </c:pt>
                <c:pt idx="621">
                  <c:v>74189.230799070006</c:v>
                </c:pt>
                <c:pt idx="622">
                  <c:v>90506.539582649901</c:v>
                </c:pt>
                <c:pt idx="623">
                  <c:v>88315.620445289998</c:v>
                </c:pt>
                <c:pt idx="624">
                  <c:v>87290.950279469995</c:v>
                </c:pt>
                <c:pt idx="625">
                  <c:v>89225.857454819896</c:v>
                </c:pt>
                <c:pt idx="626">
                  <c:v>97137.192133319899</c:v>
                </c:pt>
                <c:pt idx="627">
                  <c:v>107655.279596879</c:v>
                </c:pt>
                <c:pt idx="628">
                  <c:v>94189.386646950006</c:v>
                </c:pt>
                <c:pt idx="629">
                  <c:v>82573.179306870006</c:v>
                </c:pt>
                <c:pt idx="630">
                  <c:v>79550.825727870004</c:v>
                </c:pt>
                <c:pt idx="631">
                  <c:v>81823.987018979999</c:v>
                </c:pt>
                <c:pt idx="632">
                  <c:v>85938.165000540001</c:v>
                </c:pt>
                <c:pt idx="633">
                  <c:v>77808.73448934</c:v>
                </c:pt>
                <c:pt idx="634">
                  <c:v>71536.603834199996</c:v>
                </c:pt>
                <c:pt idx="635">
                  <c:v>73984.127335979894</c:v>
                </c:pt>
                <c:pt idx="636">
                  <c:v>80536.923738419995</c:v>
                </c:pt>
                <c:pt idx="637">
                  <c:v>79643.286877499893</c:v>
                </c:pt>
                <c:pt idx="638">
                  <c:v>71322.943722030002</c:v>
                </c:pt>
                <c:pt idx="639">
                  <c:v>69186.256140359896</c:v>
                </c:pt>
                <c:pt idx="640">
                  <c:v>72167.617459169895</c:v>
                </c:pt>
                <c:pt idx="641">
                  <c:v>79489.344892349895</c:v>
                </c:pt>
                <c:pt idx="642">
                  <c:v>82127.640440279996</c:v>
                </c:pt>
                <c:pt idx="643">
                  <c:v>78467.547058049997</c:v>
                </c:pt>
                <c:pt idx="644">
                  <c:v>79872.064075649905</c:v>
                </c:pt>
                <c:pt idx="645">
                  <c:v>81475.737573959996</c:v>
                </c:pt>
                <c:pt idx="646">
                  <c:v>99518.007268829999</c:v>
                </c:pt>
                <c:pt idx="647">
                  <c:v>99805.653883949999</c:v>
                </c:pt>
                <c:pt idx="648">
                  <c:v>87801.310957619993</c:v>
                </c:pt>
                <c:pt idx="649">
                  <c:v>84894.392624700005</c:v>
                </c:pt>
                <c:pt idx="650">
                  <c:v>88205.486116560001</c:v>
                </c:pt>
                <c:pt idx="651">
                  <c:v>86452.272152459904</c:v>
                </c:pt>
                <c:pt idx="652">
                  <c:v>78926.570090729903</c:v>
                </c:pt>
                <c:pt idx="653">
                  <c:v>75224.443803899994</c:v>
                </c:pt>
                <c:pt idx="654">
                  <c:v>75037.481673059898</c:v>
                </c:pt>
                <c:pt idx="655">
                  <c:v>79170.775355940001</c:v>
                </c:pt>
                <c:pt idx="656">
                  <c:v>81942.409607549896</c:v>
                </c:pt>
                <c:pt idx="657">
                  <c:v>75530.288866679897</c:v>
                </c:pt>
                <c:pt idx="658">
                  <c:v>69769.308152850004</c:v>
                </c:pt>
                <c:pt idx="659">
                  <c:v>72574.625569080003</c:v>
                </c:pt>
                <c:pt idx="660">
                  <c:v>81954.228009149898</c:v>
                </c:pt>
                <c:pt idx="661">
                  <c:v>78642.179979509994</c:v>
                </c:pt>
                <c:pt idx="662">
                  <c:v>75093.737971830007</c:v>
                </c:pt>
                <c:pt idx="663">
                  <c:v>73579.272757679995</c:v>
                </c:pt>
                <c:pt idx="664">
                  <c:v>78667.835362769998</c:v>
                </c:pt>
                <c:pt idx="665">
                  <c:v>92549.838231689995</c:v>
                </c:pt>
                <c:pt idx="666">
                  <c:v>93809.375754509994</c:v>
                </c:pt>
                <c:pt idx="667">
                  <c:v>89449.651543679996</c:v>
                </c:pt>
                <c:pt idx="668">
                  <c:v>96236.412653879903</c:v>
                </c:pt>
                <c:pt idx="669">
                  <c:v>107231.719504169</c:v>
                </c:pt>
                <c:pt idx="670">
                  <c:v>94116.728408249997</c:v>
                </c:pt>
                <c:pt idx="671">
                  <c:v>85494.962424450001</c:v>
                </c:pt>
                <c:pt idx="672">
                  <c:v>78277.348881960002</c:v>
                </c:pt>
                <c:pt idx="673">
                  <c:v>79085.665137539996</c:v>
                </c:pt>
                <c:pt idx="674">
                  <c:v>82961.716900739906</c:v>
                </c:pt>
                <c:pt idx="675">
                  <c:v>82833.330615540006</c:v>
                </c:pt>
                <c:pt idx="676">
                  <c:v>79567.773058469902</c:v>
                </c:pt>
                <c:pt idx="677">
                  <c:v>80298.633764760001</c:v>
                </c:pt>
                <c:pt idx="678">
                  <c:v>82585.277443679894</c:v>
                </c:pt>
                <c:pt idx="679">
                  <c:v>81037.858687889995</c:v>
                </c:pt>
                <c:pt idx="680">
                  <c:v>75768.100718400005</c:v>
                </c:pt>
                <c:pt idx="681">
                  <c:v>75229.449330570002</c:v>
                </c:pt>
                <c:pt idx="682">
                  <c:v>77699.93192196</c:v>
                </c:pt>
                <c:pt idx="683">
                  <c:v>88449.05474829</c:v>
                </c:pt>
                <c:pt idx="684">
                  <c:v>93045.173861849995</c:v>
                </c:pt>
                <c:pt idx="685">
                  <c:v>88021.066104540005</c:v>
                </c:pt>
                <c:pt idx="686">
                  <c:v>88771.983436229901</c:v>
                </c:pt>
                <c:pt idx="687">
                  <c:v>94691.163070679904</c:v>
                </c:pt>
                <c:pt idx="688">
                  <c:v>109831.52623104</c:v>
                </c:pt>
                <c:pt idx="689">
                  <c:v>96387.461874209999</c:v>
                </c:pt>
                <c:pt idx="690">
                  <c:v>89389.295505839997</c:v>
                </c:pt>
                <c:pt idx="691">
                  <c:v>85381.407640049903</c:v>
                </c:pt>
                <c:pt idx="692">
                  <c:v>85559.381817389905</c:v>
                </c:pt>
                <c:pt idx="693">
                  <c:v>87325.986126119999</c:v>
                </c:pt>
                <c:pt idx="694">
                  <c:v>86245.198947120007</c:v>
                </c:pt>
                <c:pt idx="695">
                  <c:v>79162.841601360007</c:v>
                </c:pt>
                <c:pt idx="696">
                  <c:v>73992.317343749994</c:v>
                </c:pt>
                <c:pt idx="697">
                  <c:v>72100.634372339904</c:v>
                </c:pt>
                <c:pt idx="698">
                  <c:v>78065.684349119998</c:v>
                </c:pt>
                <c:pt idx="699">
                  <c:v>80839.294235370005</c:v>
                </c:pt>
                <c:pt idx="700">
                  <c:v>72685.755622290002</c:v>
                </c:pt>
                <c:pt idx="701">
                  <c:v>70172.966366969995</c:v>
                </c:pt>
                <c:pt idx="702">
                  <c:v>71083.946424059905</c:v>
                </c:pt>
                <c:pt idx="703">
                  <c:v>79333.412115750005</c:v>
                </c:pt>
                <c:pt idx="704">
                  <c:v>80018.987181239907</c:v>
                </c:pt>
                <c:pt idx="705">
                  <c:v>75156.87468126</c:v>
                </c:pt>
                <c:pt idx="706">
                  <c:v>75865.486656509995</c:v>
                </c:pt>
                <c:pt idx="707">
                  <c:v>81667.077779129904</c:v>
                </c:pt>
                <c:pt idx="708">
                  <c:v>99132.890513549995</c:v>
                </c:pt>
                <c:pt idx="709">
                  <c:v>99944.600484449998</c:v>
                </c:pt>
                <c:pt idx="710">
                  <c:v>98131.629938700004</c:v>
                </c:pt>
                <c:pt idx="711">
                  <c:v>88233.202472429897</c:v>
                </c:pt>
                <c:pt idx="712">
                  <c:v>87006.949064760003</c:v>
                </c:pt>
                <c:pt idx="713">
                  <c:v>88693.173953610007</c:v>
                </c:pt>
                <c:pt idx="714">
                  <c:v>89838.8209380599</c:v>
                </c:pt>
                <c:pt idx="715">
                  <c:v>81729.203118089994</c:v>
                </c:pt>
                <c:pt idx="716">
                  <c:v>76606.690426920002</c:v>
                </c:pt>
                <c:pt idx="717">
                  <c:v>76557.809106030007</c:v>
                </c:pt>
                <c:pt idx="718">
                  <c:v>80525.186568149904</c:v>
                </c:pt>
                <c:pt idx="719">
                  <c:v>81009.553626389999</c:v>
                </c:pt>
                <c:pt idx="720">
                  <c:v>76679.045996159999</c:v>
                </c:pt>
                <c:pt idx="721">
                  <c:v>73086.150458909993</c:v>
                </c:pt>
                <c:pt idx="722">
                  <c:v>71652.794356619896</c:v>
                </c:pt>
                <c:pt idx="723">
                  <c:v>78765.453324089904</c:v>
                </c:pt>
                <c:pt idx="724">
                  <c:v>80791.634463270006</c:v>
                </c:pt>
                <c:pt idx="725">
                  <c:v>75690.185992979896</c:v>
                </c:pt>
                <c:pt idx="726">
                  <c:v>80178.992864130007</c:v>
                </c:pt>
                <c:pt idx="727">
                  <c:v>97580.826930449999</c:v>
                </c:pt>
                <c:pt idx="728">
                  <c:v>98586.6343965899</c:v>
                </c:pt>
                <c:pt idx="729">
                  <c:v>92141.365927620005</c:v>
                </c:pt>
                <c:pt idx="730">
                  <c:v>89558.013346799999</c:v>
                </c:pt>
                <c:pt idx="731">
                  <c:v>97731.436920959997</c:v>
                </c:pt>
                <c:pt idx="732">
                  <c:v>102113.17061649</c:v>
                </c:pt>
                <c:pt idx="733">
                  <c:v>89421.02485596</c:v>
                </c:pt>
                <c:pt idx="734">
                  <c:v>103611.33864354</c:v>
                </c:pt>
                <c:pt idx="735">
                  <c:v>76926.405512639903</c:v>
                </c:pt>
                <c:pt idx="736">
                  <c:v>83045.942434800003</c:v>
                </c:pt>
                <c:pt idx="737">
                  <c:v>85026.344501999905</c:v>
                </c:pt>
                <c:pt idx="738">
                  <c:v>76355.816536439903</c:v>
                </c:pt>
                <c:pt idx="739">
                  <c:v>72914.941808279997</c:v>
                </c:pt>
                <c:pt idx="740">
                  <c:v>72896.433217740007</c:v>
                </c:pt>
                <c:pt idx="741">
                  <c:v>78482.051376839998</c:v>
                </c:pt>
                <c:pt idx="742">
                  <c:v>78710.176773599902</c:v>
                </c:pt>
                <c:pt idx="743">
                  <c:v>73143.158243159996</c:v>
                </c:pt>
                <c:pt idx="744">
                  <c:v>72275.24973969</c:v>
                </c:pt>
                <c:pt idx="745">
                  <c:v>75587.728752540002</c:v>
                </c:pt>
                <c:pt idx="746">
                  <c:v>85452.289140840003</c:v>
                </c:pt>
                <c:pt idx="747">
                  <c:v>88670.095469519903</c:v>
                </c:pt>
                <c:pt idx="748">
                  <c:v>86671.484135339997</c:v>
                </c:pt>
                <c:pt idx="749">
                  <c:v>84018.812269559901</c:v>
                </c:pt>
                <c:pt idx="750">
                  <c:v>93119.898026549999</c:v>
                </c:pt>
                <c:pt idx="751">
                  <c:v>110435.28204101999</c:v>
                </c:pt>
                <c:pt idx="752">
                  <c:v>94631.816050979905</c:v>
                </c:pt>
                <c:pt idx="753">
                  <c:v>87972.5448528899</c:v>
                </c:pt>
                <c:pt idx="754">
                  <c:v>84177.739720529993</c:v>
                </c:pt>
                <c:pt idx="755">
                  <c:v>87457.494507359894</c:v>
                </c:pt>
                <c:pt idx="756">
                  <c:v>93385.563119519997</c:v>
                </c:pt>
                <c:pt idx="757">
                  <c:v>96222.501034739893</c:v>
                </c:pt>
                <c:pt idx="758">
                  <c:v>85025.989637009901</c:v>
                </c:pt>
                <c:pt idx="759">
                  <c:v>89107.3413976499</c:v>
                </c:pt>
                <c:pt idx="760">
                  <c:v>87134.859319739902</c:v>
                </c:pt>
                <c:pt idx="761">
                  <c:v>76477.9939686</c:v>
                </c:pt>
                <c:pt idx="762">
                  <c:v>74582.430071519993</c:v>
                </c:pt>
                <c:pt idx="763">
                  <c:v>76269.110828639998</c:v>
                </c:pt>
                <c:pt idx="764">
                  <c:v>90215.876741399901</c:v>
                </c:pt>
                <c:pt idx="765">
                  <c:v>93951.759716159897</c:v>
                </c:pt>
                <c:pt idx="766">
                  <c:v>92680.619826359994</c:v>
                </c:pt>
                <c:pt idx="767">
                  <c:v>99035.154240389995</c:v>
                </c:pt>
                <c:pt idx="768">
                  <c:v>113689.59498087</c:v>
                </c:pt>
                <c:pt idx="769">
                  <c:v>127389.18821081999</c:v>
                </c:pt>
                <c:pt idx="770">
                  <c:v>116169.67960335</c:v>
                </c:pt>
                <c:pt idx="771">
                  <c:v>121983.257196329</c:v>
                </c:pt>
                <c:pt idx="772">
                  <c:v>127719.02704389</c:v>
                </c:pt>
                <c:pt idx="773">
                  <c:v>111724.971860969</c:v>
                </c:pt>
                <c:pt idx="774">
                  <c:v>95119.607705939896</c:v>
                </c:pt>
                <c:pt idx="775">
                  <c:v>88643.225358299998</c:v>
                </c:pt>
                <c:pt idx="776">
                  <c:v>82747.514252699999</c:v>
                </c:pt>
                <c:pt idx="777">
                  <c:v>87129.276610709901</c:v>
                </c:pt>
                <c:pt idx="778">
                  <c:v>86055.723111539904</c:v>
                </c:pt>
                <c:pt idx="779">
                  <c:v>79969.372230959998</c:v>
                </c:pt>
                <c:pt idx="780">
                  <c:v>76669.89825903</c:v>
                </c:pt>
                <c:pt idx="781">
                  <c:v>78157.202053409899</c:v>
                </c:pt>
                <c:pt idx="782">
                  <c:v>81801.959505659994</c:v>
                </c:pt>
                <c:pt idx="783">
                  <c:v>83272.135949429998</c:v>
                </c:pt>
                <c:pt idx="784">
                  <c:v>78919.775254979904</c:v>
                </c:pt>
                <c:pt idx="785">
                  <c:v>76763.106486479897</c:v>
                </c:pt>
                <c:pt idx="786">
                  <c:v>82184.146033469995</c:v>
                </c:pt>
                <c:pt idx="787">
                  <c:v>97158.534745199999</c:v>
                </c:pt>
                <c:pt idx="788">
                  <c:v>95946.410244540006</c:v>
                </c:pt>
                <c:pt idx="789">
                  <c:v>93231.554150669996</c:v>
                </c:pt>
                <c:pt idx="790">
                  <c:v>97763.608244969902</c:v>
                </c:pt>
                <c:pt idx="791">
                  <c:v>109661.68574184</c:v>
                </c:pt>
                <c:pt idx="792">
                  <c:v>120047.03041613899</c:v>
                </c:pt>
                <c:pt idx="793">
                  <c:v>108776.553578999</c:v>
                </c:pt>
                <c:pt idx="794">
                  <c:v>103085.500806629</c:v>
                </c:pt>
                <c:pt idx="795">
                  <c:v>99045.981621149898</c:v>
                </c:pt>
                <c:pt idx="796">
                  <c:v>98471.159264369999</c:v>
                </c:pt>
                <c:pt idx="797">
                  <c:v>96246.652485419996</c:v>
                </c:pt>
                <c:pt idx="798">
                  <c:v>93996.308367870006</c:v>
                </c:pt>
                <c:pt idx="799">
                  <c:v>86245.255054919995</c:v>
                </c:pt>
                <c:pt idx="800">
                  <c:v>80431.297406550002</c:v>
                </c:pt>
                <c:pt idx="801">
                  <c:v>80358.081054959999</c:v>
                </c:pt>
                <c:pt idx="802">
                  <c:v>88040.616266280005</c:v>
                </c:pt>
                <c:pt idx="803">
                  <c:v>81156.922512780002</c:v>
                </c:pt>
                <c:pt idx="804">
                  <c:v>77520.628010789995</c:v>
                </c:pt>
                <c:pt idx="805">
                  <c:v>83611.197239579895</c:v>
                </c:pt>
                <c:pt idx="806">
                  <c:v>99049.405704420002</c:v>
                </c:pt>
                <c:pt idx="807">
                  <c:v>99855.629667660003</c:v>
                </c:pt>
                <c:pt idx="808">
                  <c:v>96838.607556720002</c:v>
                </c:pt>
                <c:pt idx="809">
                  <c:v>99686.4274571399</c:v>
                </c:pt>
                <c:pt idx="810">
                  <c:v>116192.3501718</c:v>
                </c:pt>
                <c:pt idx="811">
                  <c:v>102681.638492489</c:v>
                </c:pt>
                <c:pt idx="812">
                  <c:v>96191.557420860001</c:v>
                </c:pt>
                <c:pt idx="813">
                  <c:v>91666.139121540007</c:v>
                </c:pt>
                <c:pt idx="814">
                  <c:v>89813.857926389901</c:v>
                </c:pt>
                <c:pt idx="815">
                  <c:v>95620.239546389901</c:v>
                </c:pt>
                <c:pt idx="816">
                  <c:v>91465.014630029997</c:v>
                </c:pt>
                <c:pt idx="817">
                  <c:v>82986.007646069906</c:v>
                </c:pt>
                <c:pt idx="818">
                  <c:v>78559.575611759996</c:v>
                </c:pt>
                <c:pt idx="819">
                  <c:v>78112.411879799998</c:v>
                </c:pt>
                <c:pt idx="820">
                  <c:v>83197.328803800003</c:v>
                </c:pt>
                <c:pt idx="821">
                  <c:v>86575.829052419998</c:v>
                </c:pt>
                <c:pt idx="822">
                  <c:v>77634.427382399896</c:v>
                </c:pt>
                <c:pt idx="823">
                  <c:v>74149.575447989904</c:v>
                </c:pt>
                <c:pt idx="824">
                  <c:v>75947.953261889896</c:v>
                </c:pt>
                <c:pt idx="825">
                  <c:v>84530.447311080003</c:v>
                </c:pt>
                <c:pt idx="826">
                  <c:v>88318.111672769897</c:v>
                </c:pt>
                <c:pt idx="827">
                  <c:v>80926.63997412</c:v>
                </c:pt>
                <c:pt idx="828">
                  <c:v>82290.476874510001</c:v>
                </c:pt>
                <c:pt idx="829">
                  <c:v>87595.334820419899</c:v>
                </c:pt>
                <c:pt idx="830">
                  <c:v>103844.99318694</c:v>
                </c:pt>
                <c:pt idx="831">
                  <c:v>101599.16406015</c:v>
                </c:pt>
                <c:pt idx="832">
                  <c:v>100729.80575676</c:v>
                </c:pt>
                <c:pt idx="833">
                  <c:v>100335.62221902001</c:v>
                </c:pt>
                <c:pt idx="834">
                  <c:v>97610.766189870003</c:v>
                </c:pt>
                <c:pt idx="835">
                  <c:v>103093.0650531</c:v>
                </c:pt>
                <c:pt idx="836">
                  <c:v>101914.76106468</c:v>
                </c:pt>
                <c:pt idx="837">
                  <c:v>93024.625740389994</c:v>
                </c:pt>
                <c:pt idx="838">
                  <c:v>93035.333512679994</c:v>
                </c:pt>
                <c:pt idx="839">
                  <c:v>97871.075811989998</c:v>
                </c:pt>
                <c:pt idx="840">
                  <c:v>99401.017949910005</c:v>
                </c:pt>
                <c:pt idx="841">
                  <c:v>99603.196598909897</c:v>
                </c:pt>
                <c:pt idx="842">
                  <c:v>98148.265098930002</c:v>
                </c:pt>
                <c:pt idx="843">
                  <c:v>86625.578733539995</c:v>
                </c:pt>
                <c:pt idx="844">
                  <c:v>79803.353469779904</c:v>
                </c:pt>
                <c:pt idx="845">
                  <c:v>96610.599289559905</c:v>
                </c:pt>
                <c:pt idx="846">
                  <c:v>81023.003544179999</c:v>
                </c:pt>
                <c:pt idx="847">
                  <c:v>96212.289037080001</c:v>
                </c:pt>
                <c:pt idx="848">
                  <c:v>92287.011742949995</c:v>
                </c:pt>
                <c:pt idx="849">
                  <c:v>93988.834656929903</c:v>
                </c:pt>
                <c:pt idx="850">
                  <c:v>103617.98307416899</c:v>
                </c:pt>
                <c:pt idx="851">
                  <c:v>108240.444095189</c:v>
                </c:pt>
                <c:pt idx="852">
                  <c:v>102784.55628528001</c:v>
                </c:pt>
                <c:pt idx="853">
                  <c:v>106108.2666909</c:v>
                </c:pt>
                <c:pt idx="854">
                  <c:v>100158.89484216001</c:v>
                </c:pt>
                <c:pt idx="855">
                  <c:v>83268.913951499999</c:v>
                </c:pt>
                <c:pt idx="856">
                  <c:v>77058.574226340002</c:v>
                </c:pt>
                <c:pt idx="857">
                  <c:v>77628.378485069901</c:v>
                </c:pt>
                <c:pt idx="858">
                  <c:v>83956.213757789999</c:v>
                </c:pt>
                <c:pt idx="859">
                  <c:v>77703.572272949998</c:v>
                </c:pt>
                <c:pt idx="860">
                  <c:v>80683.204917299998</c:v>
                </c:pt>
                <c:pt idx="861">
                  <c:v>91707.371479020003</c:v>
                </c:pt>
                <c:pt idx="862">
                  <c:v>95389.492136999994</c:v>
                </c:pt>
                <c:pt idx="863">
                  <c:v>89392.354435139903</c:v>
                </c:pt>
                <c:pt idx="864">
                  <c:v>86110.660647179902</c:v>
                </c:pt>
                <c:pt idx="865">
                  <c:v>91005.161076479897</c:v>
                </c:pt>
                <c:pt idx="866">
                  <c:v>108344.66941359</c:v>
                </c:pt>
                <c:pt idx="867">
                  <c:v>106319.10781215</c:v>
                </c:pt>
                <c:pt idx="868">
                  <c:v>94089.014001089905</c:v>
                </c:pt>
                <c:pt idx="869">
                  <c:v>88326.272771939999</c:v>
                </c:pt>
                <c:pt idx="870">
                  <c:v>87371.694782160004</c:v>
                </c:pt>
                <c:pt idx="871">
                  <c:v>91314.054519929894</c:v>
                </c:pt>
                <c:pt idx="872">
                  <c:v>93034.442083559901</c:v>
                </c:pt>
                <c:pt idx="873">
                  <c:v>83829.747006899895</c:v>
                </c:pt>
                <c:pt idx="874">
                  <c:v>77745.502815179905</c:v>
                </c:pt>
                <c:pt idx="875">
                  <c:v>77027.749203689906</c:v>
                </c:pt>
                <c:pt idx="876">
                  <c:v>82067.788377359902</c:v>
                </c:pt>
                <c:pt idx="877">
                  <c:v>86801.680654229902</c:v>
                </c:pt>
                <c:pt idx="878">
                  <c:v>78603.316257779996</c:v>
                </c:pt>
                <c:pt idx="879">
                  <c:v>75124.357961219997</c:v>
                </c:pt>
                <c:pt idx="880">
                  <c:v>80602.443689879903</c:v>
                </c:pt>
                <c:pt idx="881">
                  <c:v>84450.879294239901</c:v>
                </c:pt>
                <c:pt idx="882">
                  <c:v>78472.707858209993</c:v>
                </c:pt>
                <c:pt idx="883">
                  <c:v>77542.554662759998</c:v>
                </c:pt>
                <c:pt idx="884">
                  <c:v>82981.947145109996</c:v>
                </c:pt>
                <c:pt idx="885">
                  <c:v>100471.39206621</c:v>
                </c:pt>
                <c:pt idx="886">
                  <c:v>99109.370608619996</c:v>
                </c:pt>
                <c:pt idx="887">
                  <c:v>96646.121160689901</c:v>
                </c:pt>
                <c:pt idx="888">
                  <c:v>107483.081141249</c:v>
                </c:pt>
                <c:pt idx="889">
                  <c:v>105808.72048355899</c:v>
                </c:pt>
                <c:pt idx="890">
                  <c:v>99261.421437299898</c:v>
                </c:pt>
                <c:pt idx="891">
                  <c:v>89332.998049139904</c:v>
                </c:pt>
                <c:pt idx="892">
                  <c:v>82514.568412889901</c:v>
                </c:pt>
                <c:pt idx="893">
                  <c:v>82057.020932639905</c:v>
                </c:pt>
                <c:pt idx="894">
                  <c:v>87828.858383040002</c:v>
                </c:pt>
                <c:pt idx="895">
                  <c:v>88104.271813950007</c:v>
                </c:pt>
                <c:pt idx="896">
                  <c:v>78971.779451729904</c:v>
                </c:pt>
                <c:pt idx="897">
                  <c:v>77540.636186669901</c:v>
                </c:pt>
                <c:pt idx="898">
                  <c:v>83504.303938439902</c:v>
                </c:pt>
                <c:pt idx="899">
                  <c:v>87315.179686529998</c:v>
                </c:pt>
                <c:pt idx="900">
                  <c:v>89166.886685039994</c:v>
                </c:pt>
                <c:pt idx="901">
                  <c:v>81156.582032519902</c:v>
                </c:pt>
                <c:pt idx="902">
                  <c:v>98110.034771849896</c:v>
                </c:pt>
                <c:pt idx="903">
                  <c:v>96903.066780929905</c:v>
                </c:pt>
                <c:pt idx="904">
                  <c:v>91756.678146480001</c:v>
                </c:pt>
                <c:pt idx="905">
                  <c:v>93394.922772870006</c:v>
                </c:pt>
                <c:pt idx="906">
                  <c:v>99760.960184669995</c:v>
                </c:pt>
                <c:pt idx="907">
                  <c:v>108779.401114619</c:v>
                </c:pt>
                <c:pt idx="908">
                  <c:v>98880.526090290005</c:v>
                </c:pt>
                <c:pt idx="909">
                  <c:v>89626.195066080007</c:v>
                </c:pt>
                <c:pt idx="910">
                  <c:v>85262.803858649902</c:v>
                </c:pt>
                <c:pt idx="911">
                  <c:v>84584.369916719996</c:v>
                </c:pt>
                <c:pt idx="912">
                  <c:v>85891.628128590004</c:v>
                </c:pt>
                <c:pt idx="913">
                  <c:v>91377.724203780002</c:v>
                </c:pt>
                <c:pt idx="914">
                  <c:v>83404.075866030005</c:v>
                </c:pt>
                <c:pt idx="915">
                  <c:v>80679.298031309998</c:v>
                </c:pt>
                <c:pt idx="916">
                  <c:v>88160.743665419999</c:v>
                </c:pt>
                <c:pt idx="917">
                  <c:v>89118.522598080002</c:v>
                </c:pt>
                <c:pt idx="918">
                  <c:v>77983.692062849994</c:v>
                </c:pt>
                <c:pt idx="919">
                  <c:v>73931.803373069895</c:v>
                </c:pt>
                <c:pt idx="920">
                  <c:v>76243.901192459904</c:v>
                </c:pt>
                <c:pt idx="921">
                  <c:v>85240.836327359997</c:v>
                </c:pt>
                <c:pt idx="922">
                  <c:v>88079.696133959995</c:v>
                </c:pt>
                <c:pt idx="923">
                  <c:v>82468.928617169993</c:v>
                </c:pt>
                <c:pt idx="924">
                  <c:v>81888.494450130005</c:v>
                </c:pt>
                <c:pt idx="925">
                  <c:v>88858.348213469901</c:v>
                </c:pt>
                <c:pt idx="926">
                  <c:v>104215.74725858901</c:v>
                </c:pt>
                <c:pt idx="927">
                  <c:v>105791.983470179</c:v>
                </c:pt>
                <c:pt idx="928">
                  <c:v>99882.044857469999</c:v>
                </c:pt>
                <c:pt idx="929">
                  <c:v>89508.276784229907</c:v>
                </c:pt>
                <c:pt idx="930">
                  <c:v>88189.796736179997</c:v>
                </c:pt>
                <c:pt idx="931">
                  <c:v>93963.851794979899</c:v>
                </c:pt>
                <c:pt idx="932">
                  <c:v>92811.825889080006</c:v>
                </c:pt>
                <c:pt idx="933">
                  <c:v>83380.610460030002</c:v>
                </c:pt>
                <c:pt idx="934">
                  <c:v>78855.830751959904</c:v>
                </c:pt>
                <c:pt idx="935">
                  <c:v>78044.633938169995</c:v>
                </c:pt>
                <c:pt idx="936">
                  <c:v>83544.355594799999</c:v>
                </c:pt>
                <c:pt idx="937">
                  <c:v>85753.998538290005</c:v>
                </c:pt>
                <c:pt idx="938">
                  <c:v>78207.979216380001</c:v>
                </c:pt>
                <c:pt idx="939">
                  <c:v>74169.284033339994</c:v>
                </c:pt>
                <c:pt idx="940">
                  <c:v>72903.927173459902</c:v>
                </c:pt>
                <c:pt idx="941">
                  <c:v>81261.934558769906</c:v>
                </c:pt>
                <c:pt idx="942">
                  <c:v>83100.898299929904</c:v>
                </c:pt>
                <c:pt idx="943">
                  <c:v>75830.310708000005</c:v>
                </c:pt>
                <c:pt idx="944">
                  <c:v>75437.747789639994</c:v>
                </c:pt>
                <c:pt idx="945">
                  <c:v>79879.975256519901</c:v>
                </c:pt>
                <c:pt idx="946">
                  <c:v>93827.185389599996</c:v>
                </c:pt>
                <c:pt idx="947">
                  <c:v>95053.887988799994</c:v>
                </c:pt>
                <c:pt idx="948">
                  <c:v>90770.519969309898</c:v>
                </c:pt>
                <c:pt idx="949">
                  <c:v>91601.233293359997</c:v>
                </c:pt>
                <c:pt idx="950">
                  <c:v>100301.226837779</c:v>
                </c:pt>
                <c:pt idx="951">
                  <c:v>97931.429073659907</c:v>
                </c:pt>
                <c:pt idx="952">
                  <c:v>97931.429073659907</c:v>
                </c:pt>
                <c:pt idx="953">
                  <c:v>88817.951053259996</c:v>
                </c:pt>
                <c:pt idx="954">
                  <c:v>80524.827630059997</c:v>
                </c:pt>
                <c:pt idx="955">
                  <c:v>81557.101110479998</c:v>
                </c:pt>
                <c:pt idx="956">
                  <c:v>88415.505730979901</c:v>
                </c:pt>
                <c:pt idx="957">
                  <c:v>87126.406815929993</c:v>
                </c:pt>
                <c:pt idx="958">
                  <c:v>79777.449789630002</c:v>
                </c:pt>
                <c:pt idx="959">
                  <c:v>75115.002544319897</c:v>
                </c:pt>
                <c:pt idx="960">
                  <c:v>93589.443176159897</c:v>
                </c:pt>
                <c:pt idx="961">
                  <c:v>85850.980532460002</c:v>
                </c:pt>
                <c:pt idx="962">
                  <c:v>83568.305508059901</c:v>
                </c:pt>
                <c:pt idx="963">
                  <c:v>83568.305508059901</c:v>
                </c:pt>
                <c:pt idx="964">
                  <c:v>75365.477106599894</c:v>
                </c:pt>
                <c:pt idx="965">
                  <c:v>80434.789901009994</c:v>
                </c:pt>
                <c:pt idx="966">
                  <c:v>99233.380132829901</c:v>
                </c:pt>
                <c:pt idx="967">
                  <c:v>96667.352904899904</c:v>
                </c:pt>
                <c:pt idx="968">
                  <c:v>91294.413790649996</c:v>
                </c:pt>
                <c:pt idx="969">
                  <c:v>96305.819437889993</c:v>
                </c:pt>
                <c:pt idx="970">
                  <c:v>113455.61258466</c:v>
                </c:pt>
                <c:pt idx="971">
                  <c:v>101035.29403598999</c:v>
                </c:pt>
                <c:pt idx="972">
                  <c:v>91968.332066100003</c:v>
                </c:pt>
                <c:pt idx="973">
                  <c:v>88303.987225770004</c:v>
                </c:pt>
                <c:pt idx="974">
                  <c:v>88091.146755990005</c:v>
                </c:pt>
                <c:pt idx="975">
                  <c:v>91109.824072649993</c:v>
                </c:pt>
                <c:pt idx="976">
                  <c:v>93706.274294549905</c:v>
                </c:pt>
                <c:pt idx="977">
                  <c:v>83608.104041040002</c:v>
                </c:pt>
                <c:pt idx="978">
                  <c:v>79524.396803159907</c:v>
                </c:pt>
                <c:pt idx="979">
                  <c:v>77691.937640939897</c:v>
                </c:pt>
                <c:pt idx="980">
                  <c:v>83695.270624349898</c:v>
                </c:pt>
                <c:pt idx="981">
                  <c:v>87294.7877039999</c:v>
                </c:pt>
                <c:pt idx="982">
                  <c:v>76400.399922540004</c:v>
                </c:pt>
                <c:pt idx="983">
                  <c:v>74030.939171969905</c:v>
                </c:pt>
                <c:pt idx="984">
                  <c:v>76986.783165689994</c:v>
                </c:pt>
                <c:pt idx="985">
                  <c:v>85628.947621439904</c:v>
                </c:pt>
                <c:pt idx="986">
                  <c:v>85897.436780969903</c:v>
                </c:pt>
                <c:pt idx="987">
                  <c:v>79740.050819099895</c:v>
                </c:pt>
                <c:pt idx="988">
                  <c:v>81461.1231781799</c:v>
                </c:pt>
                <c:pt idx="989">
                  <c:v>88621.788427110005</c:v>
                </c:pt>
                <c:pt idx="990">
                  <c:v>103611.33864354</c:v>
                </c:pt>
                <c:pt idx="991">
                  <c:v>102583.741466819</c:v>
                </c:pt>
                <c:pt idx="992">
                  <c:v>101804.171903489</c:v>
                </c:pt>
                <c:pt idx="993">
                  <c:v>90772.026009630004</c:v>
                </c:pt>
                <c:pt idx="994">
                  <c:v>91937.379725549996</c:v>
                </c:pt>
                <c:pt idx="995">
                  <c:v>98210.042209199994</c:v>
                </c:pt>
                <c:pt idx="996">
                  <c:v>100428.226152</c:v>
                </c:pt>
                <c:pt idx="997">
                  <c:v>84669.254800530005</c:v>
                </c:pt>
                <c:pt idx="998">
                  <c:v>83553.444653099898</c:v>
                </c:pt>
                <c:pt idx="999">
                  <c:v>93481.1310276</c:v>
                </c:pt>
                <c:pt idx="1000">
                  <c:v>95397.001357769899</c:v>
                </c:pt>
                <c:pt idx="1001">
                  <c:v>82647.311152559996</c:v>
                </c:pt>
                <c:pt idx="1002">
                  <c:v>80615.329280220001</c:v>
                </c:pt>
                <c:pt idx="1003">
                  <c:v>95538.006332759993</c:v>
                </c:pt>
                <c:pt idx="1004">
                  <c:v>96838.440468629997</c:v>
                </c:pt>
                <c:pt idx="1005">
                  <c:v>93450.516124770002</c:v>
                </c:pt>
                <c:pt idx="1006">
                  <c:v>103610.555306939</c:v>
                </c:pt>
                <c:pt idx="1007">
                  <c:v>122620.94102678999</c:v>
                </c:pt>
                <c:pt idx="1008">
                  <c:v>115911.880823969</c:v>
                </c:pt>
                <c:pt idx="1009">
                  <c:v>107266.86822047899</c:v>
                </c:pt>
                <c:pt idx="1010">
                  <c:v>107612.31422643</c:v>
                </c:pt>
                <c:pt idx="1011">
                  <c:v>123852.152564909</c:v>
                </c:pt>
                <c:pt idx="1012">
                  <c:v>131817.85723304999</c:v>
                </c:pt>
                <c:pt idx="1013">
                  <c:v>117519.59549979</c:v>
                </c:pt>
                <c:pt idx="1014">
                  <c:v>99736.826110799899</c:v>
                </c:pt>
                <c:pt idx="1015">
                  <c:v>99582.169453109993</c:v>
                </c:pt>
                <c:pt idx="1016">
                  <c:v>97161.220579350003</c:v>
                </c:pt>
                <c:pt idx="1017">
                  <c:v>86245.696860719996</c:v>
                </c:pt>
                <c:pt idx="1018">
                  <c:v>81744.690019349902</c:v>
                </c:pt>
                <c:pt idx="1019">
                  <c:v>81293.481321179905</c:v>
                </c:pt>
                <c:pt idx="1020">
                  <c:v>85099.644122369995</c:v>
                </c:pt>
                <c:pt idx="1021">
                  <c:v>86491.410716639904</c:v>
                </c:pt>
                <c:pt idx="1022">
                  <c:v>79390.220197350005</c:v>
                </c:pt>
                <c:pt idx="1023">
                  <c:v>77045.55663177</c:v>
                </c:pt>
                <c:pt idx="1024">
                  <c:v>88162.815019379996</c:v>
                </c:pt>
                <c:pt idx="1025">
                  <c:v>101220.937418549</c:v>
                </c:pt>
                <c:pt idx="1026">
                  <c:v>106497.069101549</c:v>
                </c:pt>
                <c:pt idx="1027">
                  <c:v>102995.66342405901</c:v>
                </c:pt>
                <c:pt idx="1028">
                  <c:v>100101.43722846</c:v>
                </c:pt>
                <c:pt idx="1029">
                  <c:v>105773.64950498901</c:v>
                </c:pt>
                <c:pt idx="1030">
                  <c:v>120376.85123184</c:v>
                </c:pt>
                <c:pt idx="1031">
                  <c:v>117812.59236561001</c:v>
                </c:pt>
                <c:pt idx="1032">
                  <c:v>102047.38729827</c:v>
                </c:pt>
                <c:pt idx="1033">
                  <c:v>97112.808902429999</c:v>
                </c:pt>
                <c:pt idx="1034">
                  <c:v>95742.259723440002</c:v>
                </c:pt>
                <c:pt idx="1035">
                  <c:v>98433.567215999996</c:v>
                </c:pt>
                <c:pt idx="1036">
                  <c:v>98804.297673569905</c:v>
                </c:pt>
                <c:pt idx="1037">
                  <c:v>87336.928425299993</c:v>
                </c:pt>
                <c:pt idx="1038">
                  <c:v>81835.630966500001</c:v>
                </c:pt>
                <c:pt idx="1039">
                  <c:v>85192.71288675</c:v>
                </c:pt>
                <c:pt idx="1040">
                  <c:v>93935.663092200004</c:v>
                </c:pt>
                <c:pt idx="1041">
                  <c:v>95934.811078229905</c:v>
                </c:pt>
                <c:pt idx="1042">
                  <c:v>81636.606528749995</c:v>
                </c:pt>
                <c:pt idx="1043">
                  <c:v>80859.102635519899</c:v>
                </c:pt>
                <c:pt idx="1044">
                  <c:v>88787.192697059902</c:v>
                </c:pt>
                <c:pt idx="1045">
                  <c:v>91466.389200569902</c:v>
                </c:pt>
                <c:pt idx="1046">
                  <c:v>86950.785211559996</c:v>
                </c:pt>
                <c:pt idx="1047">
                  <c:v>85000.964954099996</c:v>
                </c:pt>
                <c:pt idx="1048">
                  <c:v>93516.2013704399</c:v>
                </c:pt>
                <c:pt idx="1049">
                  <c:v>112054.24159373999</c:v>
                </c:pt>
                <c:pt idx="1050">
                  <c:v>111082.364772179</c:v>
                </c:pt>
                <c:pt idx="1051">
                  <c:v>94413.601902869996</c:v>
                </c:pt>
                <c:pt idx="1052">
                  <c:v>91663.337647139997</c:v>
                </c:pt>
                <c:pt idx="1053">
                  <c:v>92163.615516449994</c:v>
                </c:pt>
                <c:pt idx="1054">
                  <c:v>98844.517165049998</c:v>
                </c:pt>
                <c:pt idx="1055">
                  <c:v>100114.41513009</c:v>
                </c:pt>
                <c:pt idx="1056">
                  <c:v>87107.780111250002</c:v>
                </c:pt>
                <c:pt idx="1057">
                  <c:v>83185.111612319903</c:v>
                </c:pt>
                <c:pt idx="1058">
                  <c:v>85007.914112550003</c:v>
                </c:pt>
                <c:pt idx="1059">
                  <c:v>90445.966925339904</c:v>
                </c:pt>
                <c:pt idx="1060">
                  <c:v>93852.645066629993</c:v>
                </c:pt>
                <c:pt idx="1061">
                  <c:v>85561.782982830002</c:v>
                </c:pt>
                <c:pt idx="1062">
                  <c:v>79204.761403619996</c:v>
                </c:pt>
                <c:pt idx="1063">
                  <c:v>81166.061875259998</c:v>
                </c:pt>
                <c:pt idx="1064">
                  <c:v>86954.546927069896</c:v>
                </c:pt>
                <c:pt idx="1065">
                  <c:v>89769.13730817</c:v>
                </c:pt>
                <c:pt idx="1066">
                  <c:v>85435.431867749998</c:v>
                </c:pt>
                <c:pt idx="1067">
                  <c:v>83276.851537499999</c:v>
                </c:pt>
                <c:pt idx="1068">
                  <c:v>90890.170540020001</c:v>
                </c:pt>
                <c:pt idx="1069">
                  <c:v>106482.29157464999</c:v>
                </c:pt>
                <c:pt idx="1070">
                  <c:v>106777.40183487</c:v>
                </c:pt>
                <c:pt idx="1071">
                  <c:v>101796.83344575</c:v>
                </c:pt>
                <c:pt idx="1072">
                  <c:v>105220.27718736</c:v>
                </c:pt>
                <c:pt idx="1073">
                  <c:v>110691.58767903</c:v>
                </c:pt>
                <c:pt idx="1074">
                  <c:v>106570.03877042999</c:v>
                </c:pt>
                <c:pt idx="1075">
                  <c:v>105073.679613029</c:v>
                </c:pt>
                <c:pt idx="1076">
                  <c:v>97441.529402789994</c:v>
                </c:pt>
                <c:pt idx="1077">
                  <c:v>96964.613585159997</c:v>
                </c:pt>
                <c:pt idx="1078">
                  <c:v>102108.83395467</c:v>
                </c:pt>
                <c:pt idx="1079">
                  <c:v>96642.4906968</c:v>
                </c:pt>
                <c:pt idx="1080">
                  <c:v>93059.781964499998</c:v>
                </c:pt>
                <c:pt idx="1081">
                  <c:v>103860.80113656</c:v>
                </c:pt>
                <c:pt idx="1082">
                  <c:v>97830.077155859995</c:v>
                </c:pt>
                <c:pt idx="1083">
                  <c:v>85849.685346779996</c:v>
                </c:pt>
                <c:pt idx="1084">
                  <c:v>83106.043215359998</c:v>
                </c:pt>
                <c:pt idx="1085">
                  <c:v>97383.449988569904</c:v>
                </c:pt>
                <c:pt idx="1086">
                  <c:v>101572.14479919001</c:v>
                </c:pt>
                <c:pt idx="1087">
                  <c:v>94610.093403120001</c:v>
                </c:pt>
                <c:pt idx="1088">
                  <c:v>97605.848015069903</c:v>
                </c:pt>
                <c:pt idx="1089">
                  <c:v>117049.879280579</c:v>
                </c:pt>
                <c:pt idx="1090">
                  <c:v>92476.703222219905</c:v>
                </c:pt>
                <c:pt idx="1091">
                  <c:v>89242.557116999902</c:v>
                </c:pt>
                <c:pt idx="1092">
                  <c:v>92885.340033300003</c:v>
                </c:pt>
                <c:pt idx="1093">
                  <c:v>95939.251787639907</c:v>
                </c:pt>
                <c:pt idx="1094">
                  <c:v>88239.389901000002</c:v>
                </c:pt>
                <c:pt idx="1095">
                  <c:v>88732.540832189901</c:v>
                </c:pt>
                <c:pt idx="1096">
                  <c:v>87039.791484300004</c:v>
                </c:pt>
                <c:pt idx="1097">
                  <c:v>80058.916245959903</c:v>
                </c:pt>
                <c:pt idx="1098">
                  <c:v>77825.298312059895</c:v>
                </c:pt>
                <c:pt idx="1099">
                  <c:v>79594.647497939994</c:v>
                </c:pt>
                <c:pt idx="1100">
                  <c:v>88119.635096999904</c:v>
                </c:pt>
                <c:pt idx="1101">
                  <c:v>89240.344471620003</c:v>
                </c:pt>
                <c:pt idx="1102">
                  <c:v>84239.2440166499</c:v>
                </c:pt>
                <c:pt idx="1103">
                  <c:v>85858.221907889994</c:v>
                </c:pt>
                <c:pt idx="1104">
                  <c:v>89062.010831729902</c:v>
                </c:pt>
                <c:pt idx="1105">
                  <c:v>104713.49844954</c:v>
                </c:pt>
                <c:pt idx="1106">
                  <c:v>105844.52288838</c:v>
                </c:pt>
                <c:pt idx="1107">
                  <c:v>102695.031747239</c:v>
                </c:pt>
                <c:pt idx="1108">
                  <c:v>93323.420344109996</c:v>
                </c:pt>
                <c:pt idx="1109">
                  <c:v>94578.895098449997</c:v>
                </c:pt>
                <c:pt idx="1110">
                  <c:v>96149.894501069895</c:v>
                </c:pt>
                <c:pt idx="1111">
                  <c:v>86131.403969159903</c:v>
                </c:pt>
                <c:pt idx="1112">
                  <c:v>80096.533902059906</c:v>
                </c:pt>
                <c:pt idx="1113">
                  <c:v>77917.319739479994</c:v>
                </c:pt>
                <c:pt idx="1114">
                  <c:v>82171.067321669994</c:v>
                </c:pt>
                <c:pt idx="1115">
                  <c:v>84200.14717995</c:v>
                </c:pt>
                <c:pt idx="1116">
                  <c:v>75485.951725319901</c:v>
                </c:pt>
                <c:pt idx="1117">
                  <c:v>72334.619693250002</c:v>
                </c:pt>
                <c:pt idx="1118">
                  <c:v>72007.693255859893</c:v>
                </c:pt>
                <c:pt idx="1119">
                  <c:v>79093.048668959993</c:v>
                </c:pt>
                <c:pt idx="1120">
                  <c:v>84304.241902889902</c:v>
                </c:pt>
                <c:pt idx="1121">
                  <c:v>76121.5358208299</c:v>
                </c:pt>
                <c:pt idx="1122">
                  <c:v>76790.799463920004</c:v>
                </c:pt>
                <c:pt idx="1123">
                  <c:v>83577.078487019899</c:v>
                </c:pt>
                <c:pt idx="1124">
                  <c:v>98242.891469039998</c:v>
                </c:pt>
                <c:pt idx="1125">
                  <c:v>99729.831665520003</c:v>
                </c:pt>
                <c:pt idx="1126">
                  <c:v>95172.563840040006</c:v>
                </c:pt>
                <c:pt idx="1127">
                  <c:v>97092.507295559903</c:v>
                </c:pt>
                <c:pt idx="1128">
                  <c:v>105795.258257069</c:v>
                </c:pt>
                <c:pt idx="1129">
                  <c:v>106368.16669353</c:v>
                </c:pt>
                <c:pt idx="1130">
                  <c:v>101220.15506480901</c:v>
                </c:pt>
                <c:pt idx="1131">
                  <c:v>90786.563594129999</c:v>
                </c:pt>
                <c:pt idx="1132">
                  <c:v>81906.805640009901</c:v>
                </c:pt>
                <c:pt idx="1133">
                  <c:v>83906.920747559896</c:v>
                </c:pt>
                <c:pt idx="1134">
                  <c:v>90703.386550649899</c:v>
                </c:pt>
                <c:pt idx="1135">
                  <c:v>94441.128441149893</c:v>
                </c:pt>
                <c:pt idx="1136">
                  <c:v>80734.515605849898</c:v>
                </c:pt>
                <c:pt idx="1137">
                  <c:v>77920.112717399898</c:v>
                </c:pt>
                <c:pt idx="1138">
                  <c:v>83866.822046249901</c:v>
                </c:pt>
                <c:pt idx="1139">
                  <c:v>83304.881982239996</c:v>
                </c:pt>
                <c:pt idx="1140">
                  <c:v>76211.775789179999</c:v>
                </c:pt>
                <c:pt idx="1141">
                  <c:v>76383.501221459999</c:v>
                </c:pt>
                <c:pt idx="1142">
                  <c:v>77393.820326279994</c:v>
                </c:pt>
                <c:pt idx="1143">
                  <c:v>91543.940359109998</c:v>
                </c:pt>
                <c:pt idx="1144">
                  <c:v>94291.977016710007</c:v>
                </c:pt>
                <c:pt idx="1145">
                  <c:v>87609.226760099904</c:v>
                </c:pt>
                <c:pt idx="1146">
                  <c:v>96099.781525649902</c:v>
                </c:pt>
                <c:pt idx="1147">
                  <c:v>120720.26062812</c:v>
                </c:pt>
                <c:pt idx="1148">
                  <c:v>106043.01726516</c:v>
                </c:pt>
                <c:pt idx="1149">
                  <c:v>87456.576837209999</c:v>
                </c:pt>
                <c:pt idx="1150">
                  <c:v>91845.145912229898</c:v>
                </c:pt>
                <c:pt idx="1151">
                  <c:v>95139.018422609995</c:v>
                </c:pt>
                <c:pt idx="1152">
                  <c:v>83522.703933419994</c:v>
                </c:pt>
                <c:pt idx="1153">
                  <c:v>79279.817139899897</c:v>
                </c:pt>
                <c:pt idx="1154">
                  <c:v>86645.0214050699</c:v>
                </c:pt>
                <c:pt idx="1155">
                  <c:v>77882.433016019902</c:v>
                </c:pt>
                <c:pt idx="1156">
                  <c:v>90395.013915299904</c:v>
                </c:pt>
                <c:pt idx="1157">
                  <c:v>77818.777463159902</c:v>
                </c:pt>
                <c:pt idx="1158">
                  <c:v>74999.400507030005</c:v>
                </c:pt>
                <c:pt idx="1159">
                  <c:v>84056.004524399905</c:v>
                </c:pt>
                <c:pt idx="1160">
                  <c:v>88154.539911089902</c:v>
                </c:pt>
                <c:pt idx="1161">
                  <c:v>81060.546643019901</c:v>
                </c:pt>
                <c:pt idx="1162">
                  <c:v>80399.280596369994</c:v>
                </c:pt>
                <c:pt idx="1163">
                  <c:v>86595.254368439899</c:v>
                </c:pt>
                <c:pt idx="1164">
                  <c:v>100187.24468595001</c:v>
                </c:pt>
                <c:pt idx="1165">
                  <c:v>100550.153548259</c:v>
                </c:pt>
                <c:pt idx="1166">
                  <c:v>100518.13299837</c:v>
                </c:pt>
                <c:pt idx="1167">
                  <c:v>100647.97302111</c:v>
                </c:pt>
                <c:pt idx="1168">
                  <c:v>96796.216957829994</c:v>
                </c:pt>
                <c:pt idx="1169">
                  <c:v>97696.540440149896</c:v>
                </c:pt>
                <c:pt idx="1170">
                  <c:v>101276.630079779</c:v>
                </c:pt>
                <c:pt idx="1171">
                  <c:v>87194.764593119995</c:v>
                </c:pt>
                <c:pt idx="1172">
                  <c:v>83099.678222460003</c:v>
                </c:pt>
                <c:pt idx="1173">
                  <c:v>81617.022211289994</c:v>
                </c:pt>
                <c:pt idx="1174">
                  <c:v>80134.382969280006</c:v>
                </c:pt>
                <c:pt idx="1175">
                  <c:v>77424.369080909993</c:v>
                </c:pt>
                <c:pt idx="1176">
                  <c:v>79008.433358159993</c:v>
                </c:pt>
                <c:pt idx="1177">
                  <c:v>85789.421245469901</c:v>
                </c:pt>
                <c:pt idx="1178">
                  <c:v>96768.879554519997</c:v>
                </c:pt>
                <c:pt idx="1179">
                  <c:v>96703.533972990001</c:v>
                </c:pt>
                <c:pt idx="1180">
                  <c:v>92588.933303969898</c:v>
                </c:pt>
                <c:pt idx="1181">
                  <c:v>95157.035462219996</c:v>
                </c:pt>
                <c:pt idx="1182">
                  <c:v>107307.070459169</c:v>
                </c:pt>
                <c:pt idx="1183">
                  <c:v>103909.00073648999</c:v>
                </c:pt>
                <c:pt idx="1184">
                  <c:v>98895.440245770005</c:v>
                </c:pt>
                <c:pt idx="1185">
                  <c:v>99786.114735869996</c:v>
                </c:pt>
                <c:pt idx="1186">
                  <c:v>105348.64703418</c:v>
                </c:pt>
                <c:pt idx="1187">
                  <c:v>112056.45189744</c:v>
                </c:pt>
                <c:pt idx="1188">
                  <c:v>103779.00910482</c:v>
                </c:pt>
                <c:pt idx="1189">
                  <c:v>90293.215371359998</c:v>
                </c:pt>
                <c:pt idx="1190">
                  <c:v>86732.235004559901</c:v>
                </c:pt>
                <c:pt idx="1191">
                  <c:v>91865.310784289904</c:v>
                </c:pt>
                <c:pt idx="1192">
                  <c:v>95642.416310429995</c:v>
                </c:pt>
                <c:pt idx="1193">
                  <c:v>95642.416310429995</c:v>
                </c:pt>
                <c:pt idx="1194">
                  <c:v>82766.429105849995</c:v>
                </c:pt>
                <c:pt idx="1195">
                  <c:v>88609.092697589993</c:v>
                </c:pt>
                <c:pt idx="1196">
                  <c:v>93192.914491349904</c:v>
                </c:pt>
                <c:pt idx="1197">
                  <c:v>82141.272230189905</c:v>
                </c:pt>
                <c:pt idx="1198">
                  <c:v>83264.772566700005</c:v>
                </c:pt>
                <c:pt idx="1199">
                  <c:v>96927.159472710002</c:v>
                </c:pt>
                <c:pt idx="1200">
                  <c:v>106835.99521833</c:v>
                </c:pt>
                <c:pt idx="1201">
                  <c:v>111826.168636979</c:v>
                </c:pt>
                <c:pt idx="1202">
                  <c:v>120067.47542603999</c:v>
                </c:pt>
                <c:pt idx="1203">
                  <c:v>116839.46036288999</c:v>
                </c:pt>
                <c:pt idx="1204">
                  <c:v>100792.2669588</c:v>
                </c:pt>
                <c:pt idx="1205">
                  <c:v>95255.769585749993</c:v>
                </c:pt>
                <c:pt idx="1206">
                  <c:v>94570.402648710005</c:v>
                </c:pt>
                <c:pt idx="1207">
                  <c:v>98617.880808000002</c:v>
                </c:pt>
                <c:pt idx="1208">
                  <c:v>99863.987496450005</c:v>
                </c:pt>
                <c:pt idx="1209">
                  <c:v>87454.340747309994</c:v>
                </c:pt>
                <c:pt idx="1210">
                  <c:v>83112.277589519901</c:v>
                </c:pt>
                <c:pt idx="1211">
                  <c:v>82794.213476789999</c:v>
                </c:pt>
                <c:pt idx="1212">
                  <c:v>86796.215363189898</c:v>
                </c:pt>
                <c:pt idx="1213">
                  <c:v>91293.134713380001</c:v>
                </c:pt>
                <c:pt idx="1214">
                  <c:v>82218.195690599998</c:v>
                </c:pt>
                <c:pt idx="1215">
                  <c:v>82083.364746029998</c:v>
                </c:pt>
                <c:pt idx="1216">
                  <c:v>88888.030961550001</c:v>
                </c:pt>
                <c:pt idx="1217">
                  <c:v>82407.242729549995</c:v>
                </c:pt>
                <c:pt idx="1218">
                  <c:v>88489.621573349898</c:v>
                </c:pt>
                <c:pt idx="1219">
                  <c:v>104381.83991151</c:v>
                </c:pt>
                <c:pt idx="1220">
                  <c:v>106884.82770336</c:v>
                </c:pt>
                <c:pt idx="1221">
                  <c:v>103010.26397745</c:v>
                </c:pt>
                <c:pt idx="1222">
                  <c:v>105771.440756789</c:v>
                </c:pt>
                <c:pt idx="1223">
                  <c:v>98115.940832819993</c:v>
                </c:pt>
                <c:pt idx="1224">
                  <c:v>104134.28159042999</c:v>
                </c:pt>
                <c:pt idx="1225">
                  <c:v>106965.651015629</c:v>
                </c:pt>
                <c:pt idx="1226">
                  <c:v>95953.664647169993</c:v>
                </c:pt>
                <c:pt idx="1227">
                  <c:v>88683.493597559995</c:v>
                </c:pt>
                <c:pt idx="1228">
                  <c:v>97465.203904830007</c:v>
                </c:pt>
                <c:pt idx="1229">
                  <c:v>85700.042704830004</c:v>
                </c:pt>
                <c:pt idx="1230">
                  <c:v>85995.892777200002</c:v>
                </c:pt>
                <c:pt idx="1231">
                  <c:v>91546.661641049999</c:v>
                </c:pt>
                <c:pt idx="1232">
                  <c:v>94591.816900470003</c:v>
                </c:pt>
                <c:pt idx="1233">
                  <c:v>89137.605007709994</c:v>
                </c:pt>
                <c:pt idx="1234">
                  <c:v>91685.048107499897</c:v>
                </c:pt>
                <c:pt idx="1235">
                  <c:v>105468.595820099</c:v>
                </c:pt>
                <c:pt idx="1236">
                  <c:v>127401.59521616899</c:v>
                </c:pt>
                <c:pt idx="1237">
                  <c:v>126305.93476791</c:v>
                </c:pt>
                <c:pt idx="1238">
                  <c:v>124448.08022376</c:v>
                </c:pt>
                <c:pt idx="1239">
                  <c:v>126739.95124626</c:v>
                </c:pt>
                <c:pt idx="1240">
                  <c:v>132932.39241627001</c:v>
                </c:pt>
                <c:pt idx="1241">
                  <c:v>130129.06488557901</c:v>
                </c:pt>
                <c:pt idx="1242">
                  <c:v>124400.122543409</c:v>
                </c:pt>
                <c:pt idx="1243">
                  <c:v>107689.688782499</c:v>
                </c:pt>
                <c:pt idx="1244">
                  <c:v>102416.16481016899</c:v>
                </c:pt>
                <c:pt idx="1245">
                  <c:v>105804.393254309</c:v>
                </c:pt>
                <c:pt idx="1246">
                  <c:v>94861.142223569899</c:v>
                </c:pt>
                <c:pt idx="1247">
                  <c:v>87400.499409629905</c:v>
                </c:pt>
                <c:pt idx="1248">
                  <c:v>87024.79239237</c:v>
                </c:pt>
                <c:pt idx="1249">
                  <c:v>92847.771711269903</c:v>
                </c:pt>
                <c:pt idx="1250">
                  <c:v>94938.539623200006</c:v>
                </c:pt>
                <c:pt idx="1251">
                  <c:v>86644.9643769299</c:v>
                </c:pt>
                <c:pt idx="1252">
                  <c:v>83206.487879160006</c:v>
                </c:pt>
                <c:pt idx="1253">
                  <c:v>86605.405491359998</c:v>
                </c:pt>
                <c:pt idx="1254">
                  <c:v>95788.004683409905</c:v>
                </c:pt>
                <c:pt idx="1255">
                  <c:v>98332.927952939906</c:v>
                </c:pt>
                <c:pt idx="1256">
                  <c:v>91416.470104289998</c:v>
                </c:pt>
                <c:pt idx="1257">
                  <c:v>93516.492312329996</c:v>
                </c:pt>
                <c:pt idx="1258">
                  <c:v>98625.327725009905</c:v>
                </c:pt>
                <c:pt idx="1259">
                  <c:v>112303.508060429</c:v>
                </c:pt>
                <c:pt idx="1260">
                  <c:v>115472.167645679</c:v>
                </c:pt>
                <c:pt idx="1261">
                  <c:v>111733.85982986999</c:v>
                </c:pt>
                <c:pt idx="1262">
                  <c:v>101319.063173399</c:v>
                </c:pt>
                <c:pt idx="1263">
                  <c:v>100591.109410559</c:v>
                </c:pt>
                <c:pt idx="1264">
                  <c:v>95401.991959979903</c:v>
                </c:pt>
                <c:pt idx="1265">
                  <c:v>106188.09880185001</c:v>
                </c:pt>
                <c:pt idx="1266">
                  <c:v>96798.2333057699</c:v>
                </c:pt>
                <c:pt idx="1267">
                  <c:v>90242.825498549995</c:v>
                </c:pt>
                <c:pt idx="1268">
                  <c:v>100082.206110749</c:v>
                </c:pt>
                <c:pt idx="1269">
                  <c:v>109144.800206849</c:v>
                </c:pt>
                <c:pt idx="1270">
                  <c:v>98375.283041729897</c:v>
                </c:pt>
                <c:pt idx="1271">
                  <c:v>90562.618950839998</c:v>
                </c:pt>
                <c:pt idx="1272">
                  <c:v>87354.259793099904</c:v>
                </c:pt>
                <c:pt idx="1273">
                  <c:v>94591.940817750001</c:v>
                </c:pt>
                <c:pt idx="1274">
                  <c:v>101216.88057597</c:v>
                </c:pt>
                <c:pt idx="1275">
                  <c:v>92939.423719769897</c:v>
                </c:pt>
                <c:pt idx="1276">
                  <c:v>96400.558856129996</c:v>
                </c:pt>
                <c:pt idx="1277">
                  <c:v>102448.66190685</c:v>
                </c:pt>
                <c:pt idx="1278">
                  <c:v>117527.21958237</c:v>
                </c:pt>
                <c:pt idx="1279">
                  <c:v>119296.84093542</c:v>
                </c:pt>
                <c:pt idx="1280">
                  <c:v>118255.031039489</c:v>
                </c:pt>
                <c:pt idx="1281">
                  <c:v>112282.46961104999</c:v>
                </c:pt>
                <c:pt idx="1282">
                  <c:v>112583.90862528</c:v>
                </c:pt>
                <c:pt idx="1283">
                  <c:v>111719.59647654</c:v>
                </c:pt>
                <c:pt idx="1284">
                  <c:v>92923.428650219896</c:v>
                </c:pt>
                <c:pt idx="1285">
                  <c:v>89155.916166750001</c:v>
                </c:pt>
                <c:pt idx="1286">
                  <c:v>95892.337267019902</c:v>
                </c:pt>
                <c:pt idx="1287">
                  <c:v>90395.829141149894</c:v>
                </c:pt>
                <c:pt idx="1288">
                  <c:v>88148.764267530001</c:v>
                </c:pt>
                <c:pt idx="1289">
                  <c:v>82526.396819489906</c:v>
                </c:pt>
                <c:pt idx="1290">
                  <c:v>93050.651852819894</c:v>
                </c:pt>
                <c:pt idx="1291">
                  <c:v>97112.104379879995</c:v>
                </c:pt>
                <c:pt idx="1292">
                  <c:v>87963.875661119993</c:v>
                </c:pt>
                <c:pt idx="1293">
                  <c:v>89395.014534689995</c:v>
                </c:pt>
                <c:pt idx="1294">
                  <c:v>93042.52914513</c:v>
                </c:pt>
                <c:pt idx="1295">
                  <c:v>107150.872743</c:v>
                </c:pt>
                <c:pt idx="1296">
                  <c:v>108040.577022989</c:v>
                </c:pt>
                <c:pt idx="1297">
                  <c:v>102815.37280163899</c:v>
                </c:pt>
                <c:pt idx="1298">
                  <c:v>104552.77701321</c:v>
                </c:pt>
                <c:pt idx="1299">
                  <c:v>111563.488492649</c:v>
                </c:pt>
                <c:pt idx="1300">
                  <c:v>118698.89926719001</c:v>
                </c:pt>
                <c:pt idx="1301">
                  <c:v>114098.28540279</c:v>
                </c:pt>
                <c:pt idx="1302">
                  <c:v>104790.884259299</c:v>
                </c:pt>
                <c:pt idx="1303">
                  <c:v>101297.79008819901</c:v>
                </c:pt>
                <c:pt idx="1304">
                  <c:v>108690.20089797</c:v>
                </c:pt>
                <c:pt idx="1305">
                  <c:v>110817.74131314</c:v>
                </c:pt>
                <c:pt idx="1306">
                  <c:v>94674.563465429994</c:v>
                </c:pt>
                <c:pt idx="1307">
                  <c:v>96046.795134059998</c:v>
                </c:pt>
                <c:pt idx="1308">
                  <c:v>98894.348617829994</c:v>
                </c:pt>
                <c:pt idx="1309">
                  <c:v>102635.99818920001</c:v>
                </c:pt>
                <c:pt idx="1310">
                  <c:v>91073.541105540004</c:v>
                </c:pt>
                <c:pt idx="1311">
                  <c:v>91602.810639119998</c:v>
                </c:pt>
                <c:pt idx="1312">
                  <c:v>104109.68367920999</c:v>
                </c:pt>
                <c:pt idx="1313">
                  <c:v>99963.993654870006</c:v>
                </c:pt>
                <c:pt idx="1314">
                  <c:v>97116.86102733</c:v>
                </c:pt>
                <c:pt idx="1315">
                  <c:v>105389.817416399</c:v>
                </c:pt>
                <c:pt idx="1316">
                  <c:v>120902.38342269001</c:v>
                </c:pt>
                <c:pt idx="1317">
                  <c:v>113873.82284709001</c:v>
                </c:pt>
                <c:pt idx="1318">
                  <c:v>108889.69100922</c:v>
                </c:pt>
                <c:pt idx="1319">
                  <c:v>104950.73949158999</c:v>
                </c:pt>
                <c:pt idx="1320">
                  <c:v>106902.62013041999</c:v>
                </c:pt>
                <c:pt idx="1321">
                  <c:v>110064.197646029</c:v>
                </c:pt>
                <c:pt idx="1322">
                  <c:v>99369.230837759897</c:v>
                </c:pt>
                <c:pt idx="1323">
                  <c:v>93508.766829209999</c:v>
                </c:pt>
                <c:pt idx="1324">
                  <c:v>92738.008683149994</c:v>
                </c:pt>
                <c:pt idx="1325">
                  <c:v>97098.008973269898</c:v>
                </c:pt>
                <c:pt idx="1326">
                  <c:v>101876.7710334</c:v>
                </c:pt>
                <c:pt idx="1327">
                  <c:v>91621.385488290005</c:v>
                </c:pt>
                <c:pt idx="1328">
                  <c:v>89626.395257729993</c:v>
                </c:pt>
                <c:pt idx="1329">
                  <c:v>89462.046626729905</c:v>
                </c:pt>
                <c:pt idx="1330">
                  <c:v>96679.907204549905</c:v>
                </c:pt>
                <c:pt idx="1331">
                  <c:v>101275.12710168</c:v>
                </c:pt>
                <c:pt idx="1332">
                  <c:v>92899.998934289993</c:v>
                </c:pt>
                <c:pt idx="1333">
                  <c:v>99218.376211379902</c:v>
                </c:pt>
                <c:pt idx="1334">
                  <c:v>112148.61479666999</c:v>
                </c:pt>
                <c:pt idx="1335">
                  <c:v>123131.30787342</c:v>
                </c:pt>
                <c:pt idx="1336">
                  <c:v>120542.61722186999</c:v>
                </c:pt>
                <c:pt idx="1337">
                  <c:v>113478.66601389</c:v>
                </c:pt>
                <c:pt idx="1338">
                  <c:v>115875.0841029</c:v>
                </c:pt>
                <c:pt idx="1339">
                  <c:v>118063.730322149</c:v>
                </c:pt>
                <c:pt idx="1340">
                  <c:v>102208.91701179001</c:v>
                </c:pt>
                <c:pt idx="1341">
                  <c:v>95679.655376399896</c:v>
                </c:pt>
                <c:pt idx="1342">
                  <c:v>92194.691281319901</c:v>
                </c:pt>
                <c:pt idx="1343">
                  <c:v>93026.534133749999</c:v>
                </c:pt>
                <c:pt idx="1344">
                  <c:v>101188.34756823</c:v>
                </c:pt>
                <c:pt idx="1345">
                  <c:v>92013.374814540002</c:v>
                </c:pt>
                <c:pt idx="1346">
                  <c:v>89490.689665409998</c:v>
                </c:pt>
                <c:pt idx="1347">
                  <c:v>92724.160647120007</c:v>
                </c:pt>
                <c:pt idx="1348">
                  <c:v>94906.676532900005</c:v>
                </c:pt>
                <c:pt idx="1349">
                  <c:v>100563.31446239899</c:v>
                </c:pt>
                <c:pt idx="1350">
                  <c:v>92323.498058639903</c:v>
                </c:pt>
                <c:pt idx="1351">
                  <c:v>88347.67252434</c:v>
                </c:pt>
                <c:pt idx="1352">
                  <c:v>89924.804619839997</c:v>
                </c:pt>
                <c:pt idx="1353">
                  <c:v>105947.59187516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90F9-4F1F-90D4-6F4EBE73567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515765720"/>
        <c:axId val="515767032"/>
      </c:lineChart>
      <c:dateAx>
        <c:axId val="515765720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15767032"/>
        <c:crosses val="autoZero"/>
        <c:auto val="1"/>
        <c:lblOffset val="100"/>
        <c:baseTimeUnit val="days"/>
      </c:dateAx>
      <c:valAx>
        <c:axId val="51576703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1576572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zero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6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4.png"/><Relationship Id="rId4" Type="http://schemas.openxmlformats.org/officeDocument/2006/relationships/oleObject" Target="../embeddings/oleObject6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7.xml"/><Relationship Id="rId1" Type="http://schemas.openxmlformats.org/officeDocument/2006/relationships/vmlDrawing" Target="../drawings/vmlDrawing7.vml"/><Relationship Id="rId4" Type="http://schemas.openxmlformats.org/officeDocument/2006/relationships/oleObject" Target="../embeddings/oleObject7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8.xml"/><Relationship Id="rId1" Type="http://schemas.openxmlformats.org/officeDocument/2006/relationships/vmlDrawing" Target="../drawings/vmlDrawing8.vml"/><Relationship Id="rId4" Type="http://schemas.openxmlformats.org/officeDocument/2006/relationships/oleObject" Target="../embeddings/oleObject8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9.xml"/><Relationship Id="rId1" Type="http://schemas.openxmlformats.org/officeDocument/2006/relationships/vmlDrawing" Target="../drawings/vmlDrawing9.vml"/><Relationship Id="rId4" Type="http://schemas.openxmlformats.org/officeDocument/2006/relationships/oleObject" Target="../embeddings/oleObject9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7.emf"/><Relationship Id="rId4" Type="http://schemas.openxmlformats.org/officeDocument/2006/relationships/oleObject" Target="../embeddings/oleObject10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6.emf"/><Relationship Id="rId4" Type="http://schemas.openxmlformats.org/officeDocument/2006/relationships/oleObject" Target="../embeddings/oleObject4.bin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tags" Target="../tags/tag10.xml"/><Relationship Id="rId13" Type="http://schemas.openxmlformats.org/officeDocument/2006/relationships/image" Target="../media/image4.wmf"/><Relationship Id="rId18" Type="http://schemas.openxmlformats.org/officeDocument/2006/relationships/image" Target="../media/image9.emf"/><Relationship Id="rId3" Type="http://schemas.openxmlformats.org/officeDocument/2006/relationships/tags" Target="../tags/tag5.xml"/><Relationship Id="rId21" Type="http://schemas.openxmlformats.org/officeDocument/2006/relationships/image" Target="../media/image12.emf"/><Relationship Id="rId7" Type="http://schemas.openxmlformats.org/officeDocument/2006/relationships/tags" Target="../tags/tag9.xml"/><Relationship Id="rId12" Type="http://schemas.openxmlformats.org/officeDocument/2006/relationships/image" Target="../media/image3.jpg"/><Relationship Id="rId17" Type="http://schemas.openxmlformats.org/officeDocument/2006/relationships/image" Target="../media/image8.emf"/><Relationship Id="rId2" Type="http://schemas.openxmlformats.org/officeDocument/2006/relationships/tags" Target="../tags/tag4.xml"/><Relationship Id="rId16" Type="http://schemas.openxmlformats.org/officeDocument/2006/relationships/image" Target="../media/image7.emf"/><Relationship Id="rId20" Type="http://schemas.openxmlformats.org/officeDocument/2006/relationships/image" Target="../media/image11.emf"/><Relationship Id="rId1" Type="http://schemas.openxmlformats.org/officeDocument/2006/relationships/tags" Target="../tags/tag3.xml"/><Relationship Id="rId6" Type="http://schemas.openxmlformats.org/officeDocument/2006/relationships/tags" Target="../tags/tag8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7.xml"/><Relationship Id="rId15" Type="http://schemas.openxmlformats.org/officeDocument/2006/relationships/image" Target="../media/image6.emf"/><Relationship Id="rId23" Type="http://schemas.openxmlformats.org/officeDocument/2006/relationships/image" Target="../media/image14.png"/><Relationship Id="rId10" Type="http://schemas.openxmlformats.org/officeDocument/2006/relationships/tags" Target="../tags/tag12.xml"/><Relationship Id="rId19" Type="http://schemas.openxmlformats.org/officeDocument/2006/relationships/image" Target="../media/image10.emf"/><Relationship Id="rId4" Type="http://schemas.openxmlformats.org/officeDocument/2006/relationships/tags" Target="../tags/tag6.xml"/><Relationship Id="rId9" Type="http://schemas.openxmlformats.org/officeDocument/2006/relationships/tags" Target="../tags/tag11.xml"/><Relationship Id="rId14" Type="http://schemas.openxmlformats.org/officeDocument/2006/relationships/image" Target="../media/image5.emf"/><Relationship Id="rId22" Type="http://schemas.openxmlformats.org/officeDocument/2006/relationships/image" Target="../media/image13.emf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5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6.emf"/><Relationship Id="rId4" Type="http://schemas.openxmlformats.org/officeDocument/2006/relationships/oleObject" Target="../embeddings/oleObject4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03" y="1502"/>
          <a:ext cx="1502" cy="15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1"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03" y="1502"/>
                        <a:ext cx="1502" cy="15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Content Placeholder 9"/>
          <p:cNvSpPr>
            <a:spLocks noGrp="1"/>
          </p:cNvSpPr>
          <p:nvPr>
            <p:ph sz="quarter" idx="12" hasCustomPrompt="1"/>
          </p:nvPr>
        </p:nvSpPr>
        <p:spPr>
          <a:xfrm>
            <a:off x="465259" y="1513324"/>
            <a:ext cx="11242428" cy="4692217"/>
          </a:xfrm>
        </p:spPr>
        <p:txBody>
          <a:bodyPr/>
          <a:lstStyle>
            <a:lvl1pPr>
              <a:defRPr sz="1513"/>
            </a:lvl1pPr>
            <a:lvl2pPr>
              <a:defRPr sz="1513"/>
            </a:lvl2pPr>
            <a:lvl3pPr>
              <a:defRPr sz="1513"/>
            </a:lvl3pPr>
            <a:lvl4pPr>
              <a:defRPr sz="1513"/>
            </a:lvl4pPr>
            <a:lvl5pPr>
              <a:defRPr sz="1513"/>
            </a:lvl5pPr>
          </a:lstStyle>
          <a:p>
            <a:pPr lvl="0"/>
            <a:r>
              <a:rPr lang="en-CA" dirty="0"/>
              <a:t>First Level Text</a:t>
            </a:r>
          </a:p>
          <a:p>
            <a:pPr lvl="1"/>
            <a:r>
              <a:rPr lang="en-CA" dirty="0"/>
              <a:t>Second Level Text</a:t>
            </a:r>
          </a:p>
          <a:p>
            <a:pPr lvl="2"/>
            <a:r>
              <a:rPr lang="en-CA" dirty="0"/>
              <a:t>Third Level Text</a:t>
            </a:r>
          </a:p>
          <a:p>
            <a:pPr lvl="3"/>
            <a:r>
              <a:rPr lang="en-CA" dirty="0"/>
              <a:t>Fourth Level Text</a:t>
            </a:r>
          </a:p>
          <a:p>
            <a:pPr lvl="4"/>
            <a:r>
              <a:rPr lang="en-CA" dirty="0"/>
              <a:t>Fifth Level Text</a:t>
            </a:r>
          </a:p>
        </p:txBody>
      </p:sp>
      <p:cxnSp>
        <p:nvCxnSpPr>
          <p:cNvPr id="7" name="Straight Connector 6"/>
          <p:cNvCxnSpPr/>
          <p:nvPr/>
        </p:nvCxnSpPr>
        <p:spPr>
          <a:xfrm>
            <a:off x="470374" y="777035"/>
            <a:ext cx="11721628" cy="1588"/>
          </a:xfrm>
          <a:prstGeom prst="line">
            <a:avLst/>
          </a:prstGeom>
          <a:ln w="1270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70374" y="170125"/>
            <a:ext cx="11237314" cy="571281"/>
          </a:xfrm>
        </p:spPr>
        <p:txBody>
          <a:bodyPr/>
          <a:lstStyle>
            <a:lvl1pPr>
              <a:defRPr sz="1891">
                <a:solidFill>
                  <a:srgbClr val="4F2A8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CA" dirty="0"/>
          </a:p>
        </p:txBody>
      </p:sp>
      <p:sp>
        <p:nvSpPr>
          <p:cNvPr id="8" name="TextBox 7"/>
          <p:cNvSpPr txBox="1"/>
          <p:nvPr/>
        </p:nvSpPr>
        <p:spPr>
          <a:xfrm>
            <a:off x="11366375" y="6562940"/>
            <a:ext cx="715200" cy="244801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597A8DCA-8F96-49CD-B4D5-7AC92F955860}" type="slidenum">
              <a:rPr lang="en-CA" sz="946" smtClean="0">
                <a:solidFill>
                  <a:srgbClr val="858789"/>
                </a:solidFill>
                <a:latin typeface="Arial" pitchFamily="34" charset="0"/>
                <a:cs typeface="Arial" pitchFamily="34" charset="0"/>
              </a:rPr>
              <a:pPr algn="r"/>
              <a:t>‹#›</a:t>
            </a:fld>
            <a:endParaRPr lang="en-CA" sz="946" dirty="0">
              <a:solidFill>
                <a:srgbClr val="858789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465259" y="779183"/>
            <a:ext cx="11259552" cy="439884"/>
          </a:xfrm>
        </p:spPr>
        <p:txBody>
          <a:bodyPr/>
          <a:lstStyle>
            <a:lvl1pPr marL="0" indent="0">
              <a:buNone/>
              <a:defRPr sz="1513" i="1" baseline="0">
                <a:solidFill>
                  <a:srgbClr val="B33A09"/>
                </a:solidFill>
              </a:defRPr>
            </a:lvl1pPr>
          </a:lstStyle>
          <a:p>
            <a:pPr lvl="0"/>
            <a:r>
              <a:rPr lang="en-US" dirty="0"/>
              <a:t>Key Message</a:t>
            </a:r>
          </a:p>
        </p:txBody>
      </p:sp>
    </p:spTree>
    <p:extLst>
      <p:ext uri="{BB962C8B-B14F-4D97-AF65-F5344CB8AC3E}">
        <p14:creationId xmlns:p14="http://schemas.microsoft.com/office/powerpoint/2010/main" val="318808577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9538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63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4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5384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9" descr="C:\Documents and Settings\s26720\Desktop\newscb.png"/>
          <p:cNvPicPr>
            <a:picLocks noChangeAspect="1" noChangeArrowheads="1"/>
          </p:cNvPicPr>
          <p:nvPr userDrawn="1"/>
        </p:nvPicPr>
        <p:blipFill rotWithShape="1">
          <a:blip r:embed="rId5" cstate="print"/>
          <a:srcRect t="16815"/>
          <a:stretch/>
        </p:blipFill>
        <p:spPr bwMode="auto">
          <a:xfrm>
            <a:off x="0" y="685800"/>
            <a:ext cx="12192000" cy="6172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49" descr="C:\Documents and Settings\s26720\Desktop\newscb.png"/>
          <p:cNvPicPr>
            <a:picLocks noChangeAspect="1" noChangeArrowheads="1"/>
          </p:cNvPicPr>
          <p:nvPr userDrawn="1"/>
        </p:nvPicPr>
        <p:blipFill rotWithShape="1">
          <a:blip r:embed="rId5" cstate="print"/>
          <a:srcRect l="74615" b="82541"/>
          <a:stretch/>
        </p:blipFill>
        <p:spPr bwMode="auto">
          <a:xfrm>
            <a:off x="9050217" y="0"/>
            <a:ext cx="3094892" cy="1295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43507987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sldNum="0" hdr="0" ft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2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19538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87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4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5384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384000"/>
            <a:ext cx="10972800" cy="609600"/>
          </a:xfrm>
        </p:spPr>
        <p:txBody>
          <a:bodyPr/>
          <a:lstStyle>
            <a:lvl1pPr>
              <a:defRPr>
                <a:solidFill>
                  <a:srgbClr val="4E297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609600" y="1600204"/>
            <a:ext cx="10972800" cy="4525962"/>
          </a:xfrm>
        </p:spPr>
        <p:txBody>
          <a:bodyPr/>
          <a:lstStyle>
            <a:lvl1pPr marL="225416" indent="-225416">
              <a:defRPr/>
            </a:lvl1pPr>
            <a:lvl2pPr marL="569891" indent="-228590">
              <a:defRPr/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6455417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Rectangle 2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19538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11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3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5384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4888415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with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9538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35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2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5384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29317597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956" y="1589"/>
          <a:ext cx="1953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5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6" y="1589"/>
                        <a:ext cx="1953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0165302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956" y="1589"/>
          <a:ext cx="1953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3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6" y="1589"/>
                        <a:ext cx="1953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2780938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4113739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03" y="1502"/>
          <a:ext cx="1502" cy="15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06"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03" y="1502"/>
                        <a:ext cx="1502" cy="15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Content Placeholder 9"/>
          <p:cNvSpPr>
            <a:spLocks noGrp="1"/>
          </p:cNvSpPr>
          <p:nvPr>
            <p:ph sz="quarter" idx="12" hasCustomPrompt="1"/>
          </p:nvPr>
        </p:nvSpPr>
        <p:spPr>
          <a:xfrm>
            <a:off x="465259" y="1513324"/>
            <a:ext cx="11242428" cy="4692217"/>
          </a:xfrm>
        </p:spPr>
        <p:txBody>
          <a:bodyPr/>
          <a:lstStyle>
            <a:lvl1pPr>
              <a:defRPr sz="1513"/>
            </a:lvl1pPr>
            <a:lvl2pPr>
              <a:defRPr sz="1513"/>
            </a:lvl2pPr>
            <a:lvl3pPr>
              <a:defRPr sz="1513"/>
            </a:lvl3pPr>
            <a:lvl4pPr>
              <a:defRPr sz="1513"/>
            </a:lvl4pPr>
            <a:lvl5pPr>
              <a:defRPr sz="1513"/>
            </a:lvl5pPr>
          </a:lstStyle>
          <a:p>
            <a:pPr lvl="0"/>
            <a:r>
              <a:rPr lang="en-CA" dirty="0"/>
              <a:t>First Level Text</a:t>
            </a:r>
          </a:p>
          <a:p>
            <a:pPr lvl="1"/>
            <a:r>
              <a:rPr lang="en-CA" dirty="0"/>
              <a:t>Second Level Text</a:t>
            </a:r>
          </a:p>
          <a:p>
            <a:pPr lvl="2"/>
            <a:r>
              <a:rPr lang="en-CA" dirty="0"/>
              <a:t>Third Level Text</a:t>
            </a:r>
          </a:p>
          <a:p>
            <a:pPr lvl="3"/>
            <a:r>
              <a:rPr lang="en-CA" dirty="0"/>
              <a:t>Fourth Level Text</a:t>
            </a:r>
          </a:p>
          <a:p>
            <a:pPr lvl="4"/>
            <a:r>
              <a:rPr lang="en-CA" dirty="0"/>
              <a:t>Fifth Level Text</a:t>
            </a:r>
          </a:p>
        </p:txBody>
      </p:sp>
      <p:cxnSp>
        <p:nvCxnSpPr>
          <p:cNvPr id="7" name="Straight Connector 6"/>
          <p:cNvCxnSpPr/>
          <p:nvPr/>
        </p:nvCxnSpPr>
        <p:spPr>
          <a:xfrm>
            <a:off x="470374" y="777035"/>
            <a:ext cx="11721628" cy="1588"/>
          </a:xfrm>
          <a:prstGeom prst="line">
            <a:avLst/>
          </a:prstGeom>
          <a:ln w="1270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70374" y="170125"/>
            <a:ext cx="11237314" cy="571281"/>
          </a:xfrm>
        </p:spPr>
        <p:txBody>
          <a:bodyPr/>
          <a:lstStyle>
            <a:lvl1pPr>
              <a:defRPr sz="1891">
                <a:solidFill>
                  <a:srgbClr val="4F2A8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CA" dirty="0"/>
          </a:p>
        </p:txBody>
      </p:sp>
      <p:sp>
        <p:nvSpPr>
          <p:cNvPr id="8" name="TextBox 7"/>
          <p:cNvSpPr txBox="1"/>
          <p:nvPr/>
        </p:nvSpPr>
        <p:spPr>
          <a:xfrm>
            <a:off x="11366375" y="6562940"/>
            <a:ext cx="715200" cy="244801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597A8DCA-8F96-49CD-B4D5-7AC92F955860}" type="slidenum">
              <a:rPr lang="en-CA" sz="946" smtClean="0">
                <a:solidFill>
                  <a:srgbClr val="858789"/>
                </a:solidFill>
                <a:latin typeface="Arial" pitchFamily="34" charset="0"/>
                <a:cs typeface="Arial" pitchFamily="34" charset="0"/>
              </a:rPr>
              <a:pPr algn="r"/>
              <a:t>‹#›</a:t>
            </a:fld>
            <a:endParaRPr lang="en-CA" sz="946" dirty="0">
              <a:solidFill>
                <a:srgbClr val="858789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465259" y="779183"/>
            <a:ext cx="11259552" cy="439884"/>
          </a:xfrm>
        </p:spPr>
        <p:txBody>
          <a:bodyPr/>
          <a:lstStyle>
            <a:lvl1pPr marL="0" indent="0">
              <a:buNone/>
              <a:defRPr sz="1513" i="1" baseline="0">
                <a:solidFill>
                  <a:srgbClr val="B33A09"/>
                </a:solidFill>
              </a:defRPr>
            </a:lvl1pPr>
          </a:lstStyle>
          <a:p>
            <a:pPr lvl="0"/>
            <a:r>
              <a:rPr lang="en-US" dirty="0"/>
              <a:t>Key Message</a:t>
            </a:r>
          </a:p>
        </p:txBody>
      </p:sp>
    </p:spTree>
    <p:extLst>
      <p:ext uri="{BB962C8B-B14F-4D97-AF65-F5344CB8AC3E}">
        <p14:creationId xmlns:p14="http://schemas.microsoft.com/office/powerpoint/2010/main" val="158999654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Cover Page">
    <p:bg>
      <p:bgPr>
        <a:blipFill dpi="0" rotWithShape="1">
          <a:blip r:embed="rId1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HSBC Private Bank" descr="HSBC Private Bank_RGB" hidden="1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61330" y="5758563"/>
            <a:ext cx="2002758" cy="618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HSBC Premier" descr="HSBC Premier_RGB" hidden="1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65039" y="5760060"/>
            <a:ext cx="1999025" cy="6173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HSBC Insurance" descr="H:\Production\Logo\HSBC LOGO\HSBC Insurance_RGB.emf" hidden="1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65039" y="5758563"/>
            <a:ext cx="1999025" cy="6173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HSBC GBM (Trad Chinese)" descr="Trad_Hex_RGB" hidden="1"/>
          <p:cNvPicPr>
            <a:picLocks noChangeAspect="1" noChangeArrowheads="1"/>
          </p:cNvPicPr>
          <p:nvPr>
            <p:custDataLst>
              <p:tags r:id="rId4"/>
            </p:custDataLst>
          </p:nvPr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42643" y="5754054"/>
            <a:ext cx="2021422" cy="285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HSBC GBM (Sim Chinese)" descr="Sim_Hex_RGB" hidden="1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9468776" y="5754052"/>
            <a:ext cx="1995292" cy="2883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HSBC GBM" descr="HSBC GBM_Black_CMYK" hidden="1"/>
          <p:cNvPicPr>
            <a:picLocks noChangeAspect="1" noChangeArrowheads="1"/>
          </p:cNvPicPr>
          <p:nvPr>
            <p:custDataLst>
              <p:tags r:id="rId6"/>
            </p:custDataLst>
          </p:nvPr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63175" y="5758578"/>
            <a:ext cx="2000892" cy="5572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HSBC Corporate" descr="HSBC Corporate_RGB" hidden="1"/>
          <p:cNvPicPr>
            <a:picLocks noChangeAspect="1" noChangeArrowheads="1"/>
          </p:cNvPicPr>
          <p:nvPr>
            <p:custDataLst>
              <p:tags r:id="rId7"/>
            </p:custDataLst>
          </p:nvPr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65039" y="5755575"/>
            <a:ext cx="1999025" cy="6638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HSBC Commercial Banking" descr="HSBC Commercial Banking_Black_RGB" hidden="1"/>
          <p:cNvPicPr>
            <a:picLocks noChangeAspect="1" noChangeArrowheads="1"/>
          </p:cNvPicPr>
          <p:nvPr>
            <p:custDataLst>
              <p:tags r:id="rId8"/>
            </p:custDataLst>
          </p:nvPr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59464" y="5754056"/>
            <a:ext cx="2010226" cy="6037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HSBC Business" descr="HSBC Business_RGB" hidden="1"/>
          <p:cNvPicPr>
            <a:picLocks noChangeAspect="1" noChangeArrowheads="1"/>
          </p:cNvPicPr>
          <p:nvPr>
            <p:custDataLst>
              <p:tags r:id="rId9"/>
            </p:custDataLst>
          </p:nvPr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65039" y="5758563"/>
            <a:ext cx="1999025" cy="618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HSBC Advance" descr="H:\Production\Logo\HSBC LOGO\HSBC Advance_RGB.emf" hidden="1"/>
          <p:cNvPicPr>
            <a:picLocks noChangeAspect="1" noChangeArrowheads="1"/>
          </p:cNvPicPr>
          <p:nvPr>
            <p:custDataLst>
              <p:tags r:id="rId10"/>
            </p:custDataLst>
          </p:nvPr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65039" y="5758563"/>
            <a:ext cx="1999025" cy="6173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5" name="Picture 49" descr="C:\Documents and Settings\s26720\Desktop\newscb.png">
            <a:extLst>
              <a:ext uri="{FF2B5EF4-FFF2-40B4-BE49-F238E27FC236}">
                <a16:creationId xmlns:a16="http://schemas.microsoft.com/office/drawing/2014/main" id="{0D43D71C-EFCF-4A63-B44F-10EA8CB1450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3" cstate="print"/>
          <a:srcRect l="74615" b="82541"/>
          <a:stretch/>
        </p:blipFill>
        <p:spPr bwMode="auto">
          <a:xfrm>
            <a:off x="8785780" y="5453567"/>
            <a:ext cx="2330961" cy="1084053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  <p:extLst>
      <p:ext uri="{BB962C8B-B14F-4D97-AF65-F5344CB8AC3E}">
        <p14:creationId xmlns:p14="http://schemas.microsoft.com/office/powerpoint/2010/main" val="75529096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 flipH="1">
            <a:off x="11045711" y="6602445"/>
            <a:ext cx="677795" cy="161887"/>
          </a:xfrm>
          <a:prstGeom prst="rect">
            <a:avLst/>
          </a:prstGeom>
        </p:spPr>
        <p:txBody>
          <a:bodyPr/>
          <a:lstStyle/>
          <a:p>
            <a:fld id="{6D22F896-40B5-4ADD-8801-0D06FADFA09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365994" y="2810459"/>
            <a:ext cx="6962779" cy="864757"/>
          </a:xfrm>
        </p:spPr>
        <p:txBody>
          <a:bodyPr anchor="ctr"/>
          <a:lstStyle>
            <a:lvl1pPr marL="0" indent="0" algn="ctr">
              <a:buNone/>
              <a:defRPr sz="3783"/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046634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9"/>
          <p:cNvSpPr>
            <a:spLocks noGrp="1"/>
          </p:cNvSpPr>
          <p:nvPr>
            <p:ph sz="quarter" idx="12" hasCustomPrompt="1"/>
          </p:nvPr>
        </p:nvSpPr>
        <p:spPr>
          <a:xfrm>
            <a:off x="465259" y="1513324"/>
            <a:ext cx="11242428" cy="4692217"/>
          </a:xfrm>
        </p:spPr>
        <p:txBody>
          <a:bodyPr/>
          <a:lstStyle>
            <a:lvl1pPr>
              <a:defRPr sz="1513"/>
            </a:lvl1pPr>
            <a:lvl2pPr>
              <a:defRPr sz="1513"/>
            </a:lvl2pPr>
            <a:lvl3pPr>
              <a:defRPr sz="1513"/>
            </a:lvl3pPr>
            <a:lvl4pPr>
              <a:defRPr sz="1513"/>
            </a:lvl4pPr>
            <a:lvl5pPr>
              <a:defRPr sz="1513"/>
            </a:lvl5pPr>
          </a:lstStyle>
          <a:p>
            <a:pPr lvl="0"/>
            <a:r>
              <a:rPr lang="en-CA" dirty="0"/>
              <a:t>First Level Text</a:t>
            </a:r>
          </a:p>
          <a:p>
            <a:pPr lvl="1"/>
            <a:r>
              <a:rPr lang="en-CA" dirty="0"/>
              <a:t>Second Level Text</a:t>
            </a:r>
          </a:p>
          <a:p>
            <a:pPr lvl="2"/>
            <a:r>
              <a:rPr lang="en-CA" dirty="0"/>
              <a:t>Third Level Text</a:t>
            </a:r>
          </a:p>
          <a:p>
            <a:pPr lvl="3"/>
            <a:r>
              <a:rPr lang="en-CA" dirty="0"/>
              <a:t>Fourth Level Text</a:t>
            </a:r>
          </a:p>
          <a:p>
            <a:pPr lvl="4"/>
            <a:r>
              <a:rPr lang="en-CA" dirty="0"/>
              <a:t>Fifth Level Text</a:t>
            </a:r>
          </a:p>
        </p:txBody>
      </p:sp>
      <p:cxnSp>
        <p:nvCxnSpPr>
          <p:cNvPr id="7" name="Straight Connector 6"/>
          <p:cNvCxnSpPr/>
          <p:nvPr/>
        </p:nvCxnSpPr>
        <p:spPr>
          <a:xfrm>
            <a:off x="470374" y="777035"/>
            <a:ext cx="11721628" cy="1588"/>
          </a:xfrm>
          <a:prstGeom prst="line">
            <a:avLst/>
          </a:prstGeom>
          <a:ln w="1270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470374" y="170125"/>
            <a:ext cx="11237314" cy="571281"/>
          </a:xfrm>
        </p:spPr>
        <p:txBody>
          <a:bodyPr/>
          <a:lstStyle>
            <a:lvl1pPr>
              <a:defRPr sz="1891">
                <a:solidFill>
                  <a:srgbClr val="673FB4"/>
                </a:solidFill>
              </a:defRPr>
            </a:lvl1pPr>
          </a:lstStyle>
          <a:p>
            <a:r>
              <a:rPr lang="en-US" dirty="0"/>
              <a:t>Master Title Slide Headline</a:t>
            </a:r>
            <a:endParaRPr lang="en-CA" dirty="0"/>
          </a:p>
        </p:txBody>
      </p:sp>
      <p:sp>
        <p:nvSpPr>
          <p:cNvPr id="8" name="TextBox 7"/>
          <p:cNvSpPr txBox="1"/>
          <p:nvPr/>
        </p:nvSpPr>
        <p:spPr>
          <a:xfrm>
            <a:off x="10992488" y="6562940"/>
            <a:ext cx="715200" cy="244801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597A8DCA-8F96-49CD-B4D5-7AC92F955860}" type="slidenum">
              <a:rPr lang="en-CA" sz="946" smtClean="0">
                <a:solidFill>
                  <a:srgbClr val="858789"/>
                </a:solidFill>
                <a:latin typeface="Arial" pitchFamily="34" charset="0"/>
                <a:cs typeface="Arial" pitchFamily="34" charset="0"/>
              </a:rPr>
              <a:pPr algn="r"/>
              <a:t>‹#›</a:t>
            </a:fld>
            <a:endParaRPr lang="en-CA" sz="946" dirty="0">
              <a:solidFill>
                <a:srgbClr val="858789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440151" y="779183"/>
            <a:ext cx="11284660" cy="439884"/>
          </a:xfrm>
        </p:spPr>
        <p:txBody>
          <a:bodyPr/>
          <a:lstStyle>
            <a:lvl1pPr marL="0" indent="0">
              <a:buNone/>
              <a:defRPr sz="1513" i="1" baseline="0"/>
            </a:lvl1pPr>
          </a:lstStyle>
          <a:p>
            <a:pPr lvl="0"/>
            <a:r>
              <a:rPr lang="en-US" dirty="0"/>
              <a:t>Key Message</a:t>
            </a: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71595" y="134497"/>
            <a:ext cx="1280963" cy="5107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539785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03" y="1502"/>
          <a:ext cx="1502" cy="15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17"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03" y="1502"/>
                        <a:ext cx="1502" cy="15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Content Placeholder 9"/>
          <p:cNvSpPr>
            <a:spLocks noGrp="1"/>
          </p:cNvSpPr>
          <p:nvPr>
            <p:ph sz="quarter" idx="12" hasCustomPrompt="1"/>
          </p:nvPr>
        </p:nvSpPr>
        <p:spPr>
          <a:xfrm>
            <a:off x="465259" y="1513324"/>
            <a:ext cx="11242428" cy="4692217"/>
          </a:xfrm>
        </p:spPr>
        <p:txBody>
          <a:bodyPr/>
          <a:lstStyle>
            <a:lvl1pPr>
              <a:defRPr sz="1513"/>
            </a:lvl1pPr>
            <a:lvl2pPr>
              <a:defRPr sz="1513"/>
            </a:lvl2pPr>
            <a:lvl3pPr>
              <a:defRPr sz="1513"/>
            </a:lvl3pPr>
            <a:lvl4pPr>
              <a:defRPr sz="1513"/>
            </a:lvl4pPr>
            <a:lvl5pPr>
              <a:defRPr sz="1513"/>
            </a:lvl5pPr>
          </a:lstStyle>
          <a:p>
            <a:pPr lvl="0"/>
            <a:r>
              <a:rPr lang="en-CA" dirty="0"/>
              <a:t>First Level Text</a:t>
            </a:r>
          </a:p>
          <a:p>
            <a:pPr lvl="1"/>
            <a:r>
              <a:rPr lang="en-CA" dirty="0"/>
              <a:t>Second Level Text</a:t>
            </a:r>
          </a:p>
          <a:p>
            <a:pPr lvl="2"/>
            <a:r>
              <a:rPr lang="en-CA" dirty="0"/>
              <a:t>Third Level Text</a:t>
            </a:r>
          </a:p>
          <a:p>
            <a:pPr lvl="3"/>
            <a:r>
              <a:rPr lang="en-CA" dirty="0"/>
              <a:t>Fourth Level Text</a:t>
            </a:r>
          </a:p>
          <a:p>
            <a:pPr lvl="4"/>
            <a:r>
              <a:rPr lang="en-CA" dirty="0"/>
              <a:t>Fifth Level Text</a:t>
            </a:r>
          </a:p>
        </p:txBody>
      </p:sp>
      <p:cxnSp>
        <p:nvCxnSpPr>
          <p:cNvPr id="7" name="Straight Connector 6"/>
          <p:cNvCxnSpPr/>
          <p:nvPr/>
        </p:nvCxnSpPr>
        <p:spPr>
          <a:xfrm>
            <a:off x="470374" y="777035"/>
            <a:ext cx="11721628" cy="1588"/>
          </a:xfrm>
          <a:prstGeom prst="line">
            <a:avLst/>
          </a:prstGeom>
          <a:ln w="1270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470374" y="170125"/>
            <a:ext cx="11237314" cy="571281"/>
          </a:xfrm>
        </p:spPr>
        <p:txBody>
          <a:bodyPr/>
          <a:lstStyle>
            <a:lvl1pPr>
              <a:defRPr sz="1891">
                <a:solidFill>
                  <a:srgbClr val="673FB4"/>
                </a:solidFill>
              </a:defRPr>
            </a:lvl1pPr>
          </a:lstStyle>
          <a:p>
            <a:r>
              <a:rPr lang="en-US" dirty="0"/>
              <a:t>Master Title Slide Headline</a:t>
            </a:r>
            <a:endParaRPr lang="en-CA" dirty="0"/>
          </a:p>
        </p:txBody>
      </p:sp>
      <p:sp>
        <p:nvSpPr>
          <p:cNvPr id="8" name="TextBox 7"/>
          <p:cNvSpPr txBox="1"/>
          <p:nvPr/>
        </p:nvSpPr>
        <p:spPr>
          <a:xfrm>
            <a:off x="10992488" y="6562940"/>
            <a:ext cx="715200" cy="244801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597A8DCA-8F96-49CD-B4D5-7AC92F955860}" type="slidenum">
              <a:rPr lang="en-CA" sz="946" smtClean="0">
                <a:solidFill>
                  <a:srgbClr val="858789"/>
                </a:solidFill>
                <a:latin typeface="Arial" pitchFamily="34" charset="0"/>
                <a:cs typeface="Arial" pitchFamily="34" charset="0"/>
              </a:rPr>
              <a:pPr algn="r"/>
              <a:t>‹#›</a:t>
            </a:fld>
            <a:endParaRPr lang="en-CA" sz="946" dirty="0">
              <a:solidFill>
                <a:srgbClr val="858789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440151" y="779183"/>
            <a:ext cx="11284660" cy="439884"/>
          </a:xfrm>
        </p:spPr>
        <p:txBody>
          <a:bodyPr/>
          <a:lstStyle>
            <a:lvl1pPr marL="0" indent="0">
              <a:buNone/>
              <a:defRPr sz="1513" i="1" baseline="0"/>
            </a:lvl1pPr>
          </a:lstStyle>
          <a:p>
            <a:pPr lvl="0"/>
            <a:r>
              <a:rPr lang="en-US" dirty="0"/>
              <a:t>Key Message</a:t>
            </a: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71595" y="134497"/>
            <a:ext cx="1280963" cy="5107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847260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ceHolder 1"/>
          <p:cNvSpPr>
            <a:spLocks noGrp="1"/>
          </p:cNvSpPr>
          <p:nvPr>
            <p:ph type="title"/>
          </p:nvPr>
        </p:nvSpPr>
        <p:spPr>
          <a:xfrm>
            <a:off x="609600" y="274752"/>
            <a:ext cx="8654400" cy="1143072"/>
          </a:xfrm>
          <a:prstGeom prst="rect">
            <a:avLst/>
          </a:prstGeom>
        </p:spPr>
        <p:txBody>
          <a:bodyPr wrap="none" lIns="0" tIns="0" rIns="0" bIns="0" anchor="ctr"/>
          <a:lstStyle>
            <a:lvl1pPr>
              <a:defRPr sz="2400">
                <a:latin typeface="Calibri" pitchFamily="34" charset="0"/>
                <a:cs typeface="Calibr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6" name="PlaceHolder 2"/>
          <p:cNvSpPr>
            <a:spLocks noGrp="1"/>
          </p:cNvSpPr>
          <p:nvPr>
            <p:ph type="subTitle"/>
          </p:nvPr>
        </p:nvSpPr>
        <p:spPr>
          <a:xfrm>
            <a:off x="609600" y="1600128"/>
            <a:ext cx="8654400" cy="4526064"/>
          </a:xfrm>
          <a:prstGeom prst="rect">
            <a:avLst/>
          </a:prstGeom>
        </p:spPr>
        <p:txBody>
          <a:bodyPr wrap="none" lIns="0" tIns="0" rIns="0" bIns="0" anchor="ctr"/>
          <a:lstStyle>
            <a:lvl1pPr>
              <a:defRPr>
                <a:latin typeface="Calibri" pitchFamily="34" charset="0"/>
                <a:cs typeface="Calibri" pitchFamily="34" charset="0"/>
              </a:defRPr>
            </a:lvl1pPr>
          </a:lstStyle>
          <a:p>
            <a:pPr algn="ctr"/>
            <a:r>
              <a:rPr lang="en-US"/>
              <a:t>Click to edit Master subtitle style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00791875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1524000"/>
            <a:ext cx="6873240" cy="1600200"/>
          </a:xfrm>
        </p:spPr>
        <p:txBody>
          <a:bodyPr anchor="b"/>
          <a:lstStyle>
            <a:lvl1pPr algn="l"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7861238" y="751241"/>
            <a:ext cx="3644962" cy="5467443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85800" y="3124199"/>
            <a:ext cx="6873240" cy="3094485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8/15/2018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664004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2895600" y="761999"/>
            <a:ext cx="8610599" cy="130386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2"/>
          <p:cNvSpPr>
            <a:spLocks noGrp="1"/>
          </p:cNvSpPr>
          <p:nvPr>
            <p:ph type="body" idx="1"/>
          </p:nvPr>
        </p:nvSpPr>
        <p:spPr>
          <a:xfrm>
            <a:off x="685800" y="2202080"/>
            <a:ext cx="3456432" cy="617320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half" idx="15"/>
          </p:nvPr>
        </p:nvSpPr>
        <p:spPr>
          <a:xfrm>
            <a:off x="685799" y="2904565"/>
            <a:ext cx="3456432" cy="3314132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368800" y="2201333"/>
            <a:ext cx="3456432" cy="626534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half" idx="16"/>
          </p:nvPr>
        </p:nvSpPr>
        <p:spPr>
          <a:xfrm>
            <a:off x="4366858" y="2904067"/>
            <a:ext cx="3456432" cy="3314618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8051800" y="2192866"/>
            <a:ext cx="3456432" cy="626534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half" idx="17"/>
          </p:nvPr>
        </p:nvSpPr>
        <p:spPr>
          <a:xfrm>
            <a:off x="8051801" y="2904565"/>
            <a:ext cx="3456432" cy="3314132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8/15/2018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1800759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956" y="1589"/>
          <a:ext cx="1953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23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6" y="1589"/>
                        <a:ext cx="1953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007318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png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12.xml"/><Relationship Id="rId7" Type="http://schemas.openxmlformats.org/officeDocument/2006/relationships/slideLayout" Target="../slideLayouts/slideLayout16.xml"/><Relationship Id="rId12" Type="http://schemas.openxmlformats.org/officeDocument/2006/relationships/oleObject" Target="../embeddings/oleObject5.bin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6" Type="http://schemas.openxmlformats.org/officeDocument/2006/relationships/slideLayout" Target="../slideLayouts/slideLayout15.xml"/><Relationship Id="rId11" Type="http://schemas.openxmlformats.org/officeDocument/2006/relationships/tags" Target="../tags/tag15.xml"/><Relationship Id="rId5" Type="http://schemas.openxmlformats.org/officeDocument/2006/relationships/slideLayout" Target="../slideLayouts/slideLayout14.xml"/><Relationship Id="rId10" Type="http://schemas.openxmlformats.org/officeDocument/2006/relationships/vmlDrawing" Target="../drawings/vmlDrawing5.vml"/><Relationship Id="rId4" Type="http://schemas.openxmlformats.org/officeDocument/2006/relationships/slideLayout" Target="../slideLayouts/slideLayout13.xml"/><Relationship Id="rId9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2"/>
            </p:custDataLst>
            <p:extLst/>
          </p:nvPr>
        </p:nvGraphicFramePr>
        <p:xfrm>
          <a:off x="1503" y="1502"/>
          <a:ext cx="1502" cy="15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9" name="think-cell Slide" r:id="rId13" imgW="470" imgH="469" progId="TCLayout.ActiveDocument.1">
                  <p:embed/>
                </p:oleObj>
              </mc:Choice>
              <mc:Fallback>
                <p:oleObj name="think-cell Slide" r:id="rId13" imgW="470" imgH="469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03" y="1502"/>
                        <a:ext cx="1502" cy="15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5323" y="1182097"/>
            <a:ext cx="11258183" cy="5128025"/>
          </a:xfrm>
          <a:prstGeom prst="rect">
            <a:avLst/>
          </a:prstGeom>
        </p:spPr>
        <p:txBody>
          <a:bodyPr vert="horz" lIns="0" tIns="64427" rIns="0" bIns="64427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65320" y="15236"/>
            <a:ext cx="11258184" cy="1095122"/>
          </a:xfrm>
          <a:prstGeom prst="rect">
            <a:avLst/>
          </a:prstGeom>
        </p:spPr>
        <p:txBody>
          <a:bodyPr vert="horz" lIns="0" tIns="64427" rIns="0" bIns="0" rtlCol="0" anchor="b" anchorCtr="0">
            <a:noAutofit/>
          </a:bodyPr>
          <a:lstStyle/>
          <a:p>
            <a:pPr lvl="0"/>
            <a:r>
              <a:rPr lang="en-US"/>
              <a:t>Click to edit Master title style</a:t>
            </a:r>
            <a:endParaRPr lang="en-AU" dirty="0"/>
          </a:p>
        </p:txBody>
      </p:sp>
      <p:pic>
        <p:nvPicPr>
          <p:cNvPr id="7" name="Picture 1093">
            <a:extLst>
              <a:ext uri="{FF2B5EF4-FFF2-40B4-BE49-F238E27FC236}">
                <a16:creationId xmlns:a16="http://schemas.microsoft.com/office/drawing/2014/main" id="{1F26D336-879D-4364-BC6C-631E697EED3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 cstate="print"/>
          <a:srcRect l="620" t="88745" r="827" b="447"/>
          <a:stretch>
            <a:fillRect/>
          </a:stretch>
        </p:blipFill>
        <p:spPr bwMode="auto">
          <a:xfrm>
            <a:off x="0" y="6146276"/>
            <a:ext cx="12192000" cy="726448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FooterSimple">
            <a:extLst>
              <a:ext uri="{FF2B5EF4-FFF2-40B4-BE49-F238E27FC236}">
                <a16:creationId xmlns:a16="http://schemas.microsoft.com/office/drawing/2014/main" id="{8879540F-A8CC-4E12-AFFC-032ACF74334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59738" y="6705339"/>
            <a:ext cx="3207006" cy="10002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algn="l">
              <a:defRPr/>
            </a:pPr>
            <a:r>
              <a:rPr lang="en-US" sz="650" b="1" dirty="0">
                <a:solidFill>
                  <a:srgbClr val="FFFFFF"/>
                </a:solidFill>
                <a:latin typeface="+mn-lt"/>
              </a:rPr>
              <a:t>Life Insurance Propensity Project – Copyright © 2018 SCB. All rights reserved</a:t>
            </a:r>
          </a:p>
        </p:txBody>
      </p:sp>
      <p:sp>
        <p:nvSpPr>
          <p:cNvPr id="9" name="Text Box 12">
            <a:extLst>
              <a:ext uri="{FF2B5EF4-FFF2-40B4-BE49-F238E27FC236}">
                <a16:creationId xmlns:a16="http://schemas.microsoft.com/office/drawing/2014/main" id="{83F51E44-855B-4930-A978-0030A4B1F3B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50578" y="6654101"/>
            <a:ext cx="213200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algn="ctr" rtl="0" fontAlgn="base">
              <a:spcBef>
                <a:spcPct val="0"/>
              </a:spcBef>
              <a:spcAft>
                <a:spcPct val="0"/>
              </a:spcAft>
              <a:defRPr/>
            </a:pPr>
            <a:fld id="{315F5034-2D1B-45DB-AFEE-81F75BA30599}" type="slidenum">
              <a:rPr lang="en-US" sz="1000" b="1" kern="1200" smtClean="0">
                <a:solidFill>
                  <a:srgbClr val="FF9900"/>
                </a:solidFill>
                <a:latin typeface="Tahoma" pitchFamily="34" charset="0"/>
                <a:ea typeface="+mn-ea"/>
                <a:cs typeface="Tahoma" pitchFamily="34" charset="0"/>
              </a:rPr>
              <a:pPr algn="ctr" rtl="0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1000" b="1" kern="1200" dirty="0">
              <a:solidFill>
                <a:srgbClr val="FF9900"/>
              </a:solidFill>
              <a:latin typeface="Tahoma" pitchFamily="34" charset="0"/>
              <a:ea typeface="+mn-ea"/>
              <a:cs typeface="Tahoma" pitchFamily="34" charset="0"/>
            </a:endParaRPr>
          </a:p>
        </p:txBody>
      </p:sp>
      <p:pic>
        <p:nvPicPr>
          <p:cNvPr id="10" name="Picture 1093">
            <a:extLst>
              <a:ext uri="{FF2B5EF4-FFF2-40B4-BE49-F238E27FC236}">
                <a16:creationId xmlns:a16="http://schemas.microsoft.com/office/drawing/2014/main" id="{2BFACB4C-831E-4267-A1C0-F00E6CF3470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5" cstate="print"/>
          <a:srcRect l="59509" t="88745" r="827" b="447"/>
          <a:stretch/>
        </p:blipFill>
        <p:spPr bwMode="auto">
          <a:xfrm>
            <a:off x="8290789" y="6146276"/>
            <a:ext cx="3901211" cy="71975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0787304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0" r:id="rId1"/>
    <p:sldLayoutId id="2147483671" r:id="rId2"/>
    <p:sldLayoutId id="2147483672" r:id="rId3"/>
    <p:sldLayoutId id="2147483673" r:id="rId4"/>
    <p:sldLayoutId id="2147483674" r:id="rId5"/>
    <p:sldLayoutId id="2147483675" r:id="rId6"/>
    <p:sldLayoutId id="2147483678" r:id="rId7"/>
    <p:sldLayoutId id="2147483681" r:id="rId8"/>
    <p:sldLayoutId id="2147483691" r:id="rId9"/>
  </p:sldLayoutIdLst>
  <p:txStyles>
    <p:titleStyle>
      <a:lvl1pPr algn="l" rtl="0" eaLnBrk="1" fontAlgn="base" hangingPunct="1">
        <a:lnSpc>
          <a:spcPct val="100000"/>
        </a:lnSpc>
        <a:spcBef>
          <a:spcPct val="0"/>
        </a:spcBef>
        <a:spcAft>
          <a:spcPct val="0"/>
        </a:spcAft>
        <a:buFont typeface="Arial" charset="0"/>
        <a:defRPr lang="en-AU" sz="2081" b="1" kern="1200" spc="0" baseline="0" dirty="0" smtClean="0">
          <a:solidFill>
            <a:schemeClr val="tx1"/>
          </a:solidFill>
          <a:latin typeface="+mj-lt"/>
          <a:ea typeface="Arial" pitchFamily="-105" charset="-52"/>
          <a:cs typeface="Arial" pitchFamily="34" charset="0"/>
        </a:defRPr>
      </a:lvl1pPr>
      <a:lvl2pPr algn="l" rtl="0" eaLnBrk="1" fontAlgn="base" hangingPunct="1">
        <a:lnSpc>
          <a:spcPts val="3465"/>
        </a:lnSpc>
        <a:spcBef>
          <a:spcPct val="0"/>
        </a:spcBef>
        <a:spcAft>
          <a:spcPct val="0"/>
        </a:spcAft>
        <a:buFont typeface="Arial" charset="0"/>
        <a:defRPr sz="3215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2pPr>
      <a:lvl3pPr algn="l" rtl="0" eaLnBrk="1" fontAlgn="base" hangingPunct="1">
        <a:lnSpc>
          <a:spcPts val="3465"/>
        </a:lnSpc>
        <a:spcBef>
          <a:spcPct val="0"/>
        </a:spcBef>
        <a:spcAft>
          <a:spcPct val="0"/>
        </a:spcAft>
        <a:buFont typeface="Arial" charset="0"/>
        <a:defRPr sz="3215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3pPr>
      <a:lvl4pPr algn="l" rtl="0" eaLnBrk="1" fontAlgn="base" hangingPunct="1">
        <a:lnSpc>
          <a:spcPts val="3465"/>
        </a:lnSpc>
        <a:spcBef>
          <a:spcPct val="0"/>
        </a:spcBef>
        <a:spcAft>
          <a:spcPct val="0"/>
        </a:spcAft>
        <a:buFont typeface="Arial" charset="0"/>
        <a:defRPr sz="3215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4pPr>
      <a:lvl5pPr algn="l" rtl="0" eaLnBrk="1" fontAlgn="base" hangingPunct="1">
        <a:lnSpc>
          <a:spcPts val="3465"/>
        </a:lnSpc>
        <a:spcBef>
          <a:spcPct val="0"/>
        </a:spcBef>
        <a:spcAft>
          <a:spcPct val="0"/>
        </a:spcAft>
        <a:buFont typeface="Arial" charset="0"/>
        <a:defRPr sz="3215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5pPr>
      <a:lvl6pPr marL="609292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3405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6pPr>
      <a:lvl7pPr marL="1218585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3405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7pPr>
      <a:lvl8pPr marL="1827878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3405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8pPr>
      <a:lvl9pPr marL="2437170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3405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9pPr>
    </p:titleStyle>
    <p:bodyStyle>
      <a:lvl1pPr marL="182503" indent="-182503" algn="l" rtl="0" eaLnBrk="1" fontAlgn="base" hangingPunct="1">
        <a:spcBef>
          <a:spcPts val="800"/>
        </a:spcBef>
        <a:spcAft>
          <a:spcPct val="0"/>
        </a:spcAft>
        <a:buFont typeface="Arial" pitchFamily="34" charset="0"/>
        <a:buChar char="•"/>
        <a:defRPr sz="1702" kern="1200">
          <a:solidFill>
            <a:schemeClr val="tx2"/>
          </a:solidFill>
          <a:latin typeface="+mn-lt"/>
          <a:ea typeface="Arial" pitchFamily="-105" charset="-52"/>
          <a:cs typeface="Arial" pitchFamily="34" charset="0"/>
        </a:defRPr>
      </a:lvl1pPr>
      <a:lvl2pPr marL="449116" indent="-266613" algn="l" rtl="0" eaLnBrk="1" fontAlgn="base" hangingPunct="1">
        <a:spcBef>
          <a:spcPts val="800"/>
        </a:spcBef>
        <a:spcAft>
          <a:spcPct val="0"/>
        </a:spcAft>
        <a:buFont typeface="Arial" pitchFamily="34" charset="0"/>
        <a:buChar char="–"/>
        <a:defRPr sz="1702" kern="1200">
          <a:solidFill>
            <a:schemeClr val="tx2"/>
          </a:solidFill>
          <a:latin typeface="+mn-lt"/>
          <a:ea typeface="Arial" pitchFamily="-105" charset="-52"/>
          <a:cs typeface="Arial" pitchFamily="34" charset="0"/>
        </a:defRPr>
      </a:lvl2pPr>
      <a:lvl3pPr marL="625269" indent="-176156" algn="l" rtl="0" eaLnBrk="1" fontAlgn="base" hangingPunct="1">
        <a:spcBef>
          <a:spcPts val="800"/>
        </a:spcBef>
        <a:spcAft>
          <a:spcPct val="0"/>
        </a:spcAft>
        <a:buFont typeface="Arial" pitchFamily="34" charset="0"/>
        <a:buChar char="•"/>
        <a:tabLst/>
        <a:defRPr sz="1702" kern="1200">
          <a:solidFill>
            <a:schemeClr val="tx2"/>
          </a:solidFill>
          <a:latin typeface="+mn-lt"/>
          <a:ea typeface="Arial" pitchFamily="-105" charset="-52"/>
          <a:cs typeface="Arial" pitchFamily="34" charset="0"/>
        </a:defRPr>
      </a:lvl3pPr>
      <a:lvl4pPr marL="898230" indent="-272960" algn="l" rtl="0" eaLnBrk="1" fontAlgn="base" hangingPunct="1">
        <a:spcBef>
          <a:spcPts val="800"/>
        </a:spcBef>
        <a:spcAft>
          <a:spcPct val="0"/>
        </a:spcAft>
        <a:buFont typeface="Arial" pitchFamily="34" charset="0"/>
        <a:buChar char="–"/>
        <a:defRPr sz="1702" kern="1200">
          <a:solidFill>
            <a:schemeClr val="tx2"/>
          </a:solidFill>
          <a:latin typeface="+mn-lt"/>
          <a:ea typeface="Arial" pitchFamily="-105" charset="-52"/>
          <a:cs typeface="Arial" pitchFamily="34" charset="0"/>
        </a:defRPr>
      </a:lvl4pPr>
      <a:lvl5pPr marL="1074384" indent="-176156" algn="l" rtl="0" eaLnBrk="1" fontAlgn="base" hangingPunct="1">
        <a:spcBef>
          <a:spcPts val="800"/>
        </a:spcBef>
        <a:spcAft>
          <a:spcPct val="0"/>
        </a:spcAft>
        <a:buFont typeface="Arial" pitchFamily="34" charset="0"/>
        <a:buChar char="•"/>
        <a:defRPr sz="1702" kern="1200">
          <a:solidFill>
            <a:schemeClr val="tx2"/>
          </a:solidFill>
          <a:latin typeface="+mn-lt"/>
          <a:ea typeface="Arial" pitchFamily="-105" charset="-52"/>
          <a:cs typeface="Arial" pitchFamily="34" charset="0"/>
        </a:defRPr>
      </a:lvl5pPr>
      <a:lvl6pPr marL="3351108" indent="-304647" algn="l" defTabSz="1218585" rtl="0" eaLnBrk="1" latinLnBrk="0" hangingPunct="1">
        <a:spcBef>
          <a:spcPct val="20000"/>
        </a:spcBef>
        <a:buFont typeface="Arial" pitchFamily="34" charset="0"/>
        <a:buChar char="•"/>
        <a:defRPr sz="2743" kern="1200">
          <a:solidFill>
            <a:schemeClr val="tx1"/>
          </a:solidFill>
          <a:latin typeface="+mn-lt"/>
          <a:ea typeface="+mn-ea"/>
          <a:cs typeface="+mn-cs"/>
        </a:defRPr>
      </a:lvl6pPr>
      <a:lvl7pPr marL="3960402" indent="-304647" algn="l" defTabSz="1218585" rtl="0" eaLnBrk="1" latinLnBrk="0" hangingPunct="1">
        <a:spcBef>
          <a:spcPct val="20000"/>
        </a:spcBef>
        <a:buFont typeface="Arial" pitchFamily="34" charset="0"/>
        <a:buChar char="•"/>
        <a:defRPr sz="2743" kern="1200">
          <a:solidFill>
            <a:schemeClr val="tx1"/>
          </a:solidFill>
          <a:latin typeface="+mn-lt"/>
          <a:ea typeface="+mn-ea"/>
          <a:cs typeface="+mn-cs"/>
        </a:defRPr>
      </a:lvl7pPr>
      <a:lvl8pPr marL="4569694" indent="-304647" algn="l" defTabSz="1218585" rtl="0" eaLnBrk="1" latinLnBrk="0" hangingPunct="1">
        <a:spcBef>
          <a:spcPct val="20000"/>
        </a:spcBef>
        <a:buFont typeface="Arial" pitchFamily="34" charset="0"/>
        <a:buChar char="•"/>
        <a:defRPr sz="2743" kern="1200">
          <a:solidFill>
            <a:schemeClr val="tx1"/>
          </a:solidFill>
          <a:latin typeface="+mn-lt"/>
          <a:ea typeface="+mn-ea"/>
          <a:cs typeface="+mn-cs"/>
        </a:defRPr>
      </a:lvl8pPr>
      <a:lvl9pPr marL="5178986" indent="-304647" algn="l" defTabSz="1218585" rtl="0" eaLnBrk="1" latinLnBrk="0" hangingPunct="1">
        <a:spcBef>
          <a:spcPct val="20000"/>
        </a:spcBef>
        <a:buFont typeface="Arial" pitchFamily="34" charset="0"/>
        <a:buChar char="•"/>
        <a:defRPr sz="274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8585" rtl="0" eaLnBrk="1" latinLnBrk="0" hangingPunct="1">
        <a:defRPr sz="2364" kern="1200">
          <a:solidFill>
            <a:schemeClr val="tx1"/>
          </a:solidFill>
          <a:latin typeface="+mn-lt"/>
          <a:ea typeface="+mn-ea"/>
          <a:cs typeface="+mn-cs"/>
        </a:defRPr>
      </a:lvl1pPr>
      <a:lvl2pPr marL="609292" algn="l" defTabSz="1218585" rtl="0" eaLnBrk="1" latinLnBrk="0" hangingPunct="1">
        <a:defRPr sz="2364" kern="1200">
          <a:solidFill>
            <a:schemeClr val="tx1"/>
          </a:solidFill>
          <a:latin typeface="+mn-lt"/>
          <a:ea typeface="+mn-ea"/>
          <a:cs typeface="+mn-cs"/>
        </a:defRPr>
      </a:lvl2pPr>
      <a:lvl3pPr marL="1218585" algn="l" defTabSz="1218585" rtl="0" eaLnBrk="1" latinLnBrk="0" hangingPunct="1">
        <a:defRPr sz="2364" kern="1200">
          <a:solidFill>
            <a:schemeClr val="tx1"/>
          </a:solidFill>
          <a:latin typeface="+mn-lt"/>
          <a:ea typeface="+mn-ea"/>
          <a:cs typeface="+mn-cs"/>
        </a:defRPr>
      </a:lvl3pPr>
      <a:lvl4pPr marL="1827878" algn="l" defTabSz="1218585" rtl="0" eaLnBrk="1" latinLnBrk="0" hangingPunct="1">
        <a:defRPr sz="2364" kern="1200">
          <a:solidFill>
            <a:schemeClr val="tx1"/>
          </a:solidFill>
          <a:latin typeface="+mn-lt"/>
          <a:ea typeface="+mn-ea"/>
          <a:cs typeface="+mn-cs"/>
        </a:defRPr>
      </a:lvl4pPr>
      <a:lvl5pPr marL="2437170" algn="l" defTabSz="1218585" rtl="0" eaLnBrk="1" latinLnBrk="0" hangingPunct="1">
        <a:defRPr sz="2364" kern="1200">
          <a:solidFill>
            <a:schemeClr val="tx1"/>
          </a:solidFill>
          <a:latin typeface="+mn-lt"/>
          <a:ea typeface="+mn-ea"/>
          <a:cs typeface="+mn-cs"/>
        </a:defRPr>
      </a:lvl5pPr>
      <a:lvl6pPr marL="3046463" algn="l" defTabSz="1218585" rtl="0" eaLnBrk="1" latinLnBrk="0" hangingPunct="1">
        <a:defRPr sz="2364" kern="1200">
          <a:solidFill>
            <a:schemeClr val="tx1"/>
          </a:solidFill>
          <a:latin typeface="+mn-lt"/>
          <a:ea typeface="+mn-ea"/>
          <a:cs typeface="+mn-cs"/>
        </a:defRPr>
      </a:lvl6pPr>
      <a:lvl7pPr marL="3655755" algn="l" defTabSz="1218585" rtl="0" eaLnBrk="1" latinLnBrk="0" hangingPunct="1">
        <a:defRPr sz="2364" kern="1200">
          <a:solidFill>
            <a:schemeClr val="tx1"/>
          </a:solidFill>
          <a:latin typeface="+mn-lt"/>
          <a:ea typeface="+mn-ea"/>
          <a:cs typeface="+mn-cs"/>
        </a:defRPr>
      </a:lvl7pPr>
      <a:lvl8pPr marL="4265046" algn="l" defTabSz="1218585" rtl="0" eaLnBrk="1" latinLnBrk="0" hangingPunct="1">
        <a:defRPr sz="2364" kern="1200">
          <a:solidFill>
            <a:schemeClr val="tx1"/>
          </a:solidFill>
          <a:latin typeface="+mn-lt"/>
          <a:ea typeface="+mn-ea"/>
          <a:cs typeface="+mn-cs"/>
        </a:defRPr>
      </a:lvl8pPr>
      <a:lvl9pPr marL="4874340" algn="l" defTabSz="1218585" rtl="0" eaLnBrk="1" latinLnBrk="0" hangingPunct="1">
        <a:defRPr sz="236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Rectangle 2" hidden="1"/>
          <p:cNvGraphicFramePr>
            <a:graphicFrameLocks/>
          </p:cNvGraphicFramePr>
          <p:nvPr>
            <p:custDataLst>
              <p:tags r:id="rId11"/>
            </p:custDataLst>
            <p:extLst/>
          </p:nvPr>
        </p:nvGraphicFramePr>
        <p:xfrm>
          <a:off x="0" y="0"/>
          <a:ext cx="19538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41" name="think-cell Slide" r:id="rId12" imgW="0" imgH="0" progId="TCLayout.ActiveDocument.1">
                  <p:embed/>
                </p:oleObj>
              </mc:Choice>
              <mc:Fallback>
                <p:oleObj name="think-cell Slide" r:id="rId12" imgW="0" imgH="0" progId="TCLayout.ActiveDocument.1">
                  <p:embed/>
                  <p:pic>
                    <p:nvPicPr>
                      <p:cNvPr id="1026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5384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1" name="Picture 1093"/>
          <p:cNvPicPr>
            <a:picLocks noChangeAspect="1" noChangeArrowheads="1"/>
          </p:cNvPicPr>
          <p:nvPr/>
        </p:nvPicPr>
        <p:blipFill>
          <a:blip r:embed="rId13" cstate="print"/>
          <a:srcRect l="620" t="88745" r="827" b="447"/>
          <a:stretch>
            <a:fillRect/>
          </a:stretch>
        </p:blipFill>
        <p:spPr bwMode="auto">
          <a:xfrm>
            <a:off x="1" y="6208713"/>
            <a:ext cx="9787025" cy="654050"/>
          </a:xfrm>
          <a:prstGeom prst="rect">
            <a:avLst/>
          </a:prstGeom>
          <a:noFill/>
          <a:ln>
            <a:noFill/>
          </a:ln>
        </p:spPr>
      </p:pic>
      <p:sp>
        <p:nvSpPr>
          <p:cNvPr id="1028" name="Title Placeholder 1"/>
          <p:cNvSpPr>
            <a:spLocks noGrp="1"/>
          </p:cNvSpPr>
          <p:nvPr>
            <p:ph type="title"/>
          </p:nvPr>
        </p:nvSpPr>
        <p:spPr bwMode="auto">
          <a:xfrm>
            <a:off x="609600" y="384000"/>
            <a:ext cx="10972800" cy="609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6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29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609600" y="1600204"/>
            <a:ext cx="10972800" cy="4525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FooterSimple"/>
          <p:cNvSpPr txBox="1">
            <a:spLocks noChangeArrowheads="1"/>
          </p:cNvSpPr>
          <p:nvPr/>
        </p:nvSpPr>
        <p:spPr bwMode="auto">
          <a:xfrm>
            <a:off x="562709" y="6740279"/>
            <a:ext cx="2851743" cy="10772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algn="l">
              <a:defRPr/>
            </a:pPr>
            <a:r>
              <a:rPr lang="en-US" sz="700" b="1" dirty="0">
                <a:solidFill>
                  <a:srgbClr val="FFFFFF"/>
                </a:solidFill>
                <a:latin typeface="+mn-lt"/>
              </a:rPr>
              <a:t>Life Insurance Propensity Project – Copyright © 2017 SCB. All rights reserved</a:t>
            </a:r>
            <a:endParaRPr lang="en-US" sz="1400" b="1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10" name="Text Box 12"/>
          <p:cNvSpPr txBox="1">
            <a:spLocks noChangeArrowheads="1"/>
          </p:cNvSpPr>
          <p:nvPr/>
        </p:nvSpPr>
        <p:spPr bwMode="auto">
          <a:xfrm>
            <a:off x="213862" y="6663334"/>
            <a:ext cx="258083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algn="ctr" rtl="0" fontAlgn="base">
              <a:spcBef>
                <a:spcPct val="0"/>
              </a:spcBef>
              <a:spcAft>
                <a:spcPct val="0"/>
              </a:spcAft>
              <a:defRPr/>
            </a:pPr>
            <a:fld id="{315F5034-2D1B-45DB-AFEE-81F75BA30599}" type="slidenum">
              <a:rPr lang="en-US" sz="1200" b="1" kern="1200" smtClean="0">
                <a:solidFill>
                  <a:srgbClr val="FF9900"/>
                </a:solidFill>
                <a:latin typeface="Tahoma" pitchFamily="34" charset="0"/>
                <a:ea typeface="+mn-ea"/>
                <a:cs typeface="Tahoma" pitchFamily="34" charset="0"/>
              </a:rPr>
              <a:pPr algn="ctr" rtl="0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1200" b="1" kern="1200" dirty="0">
              <a:solidFill>
                <a:srgbClr val="FF9900"/>
              </a:solidFill>
              <a:latin typeface="Tahoma" pitchFamily="34" charset="0"/>
              <a:ea typeface="+mn-ea"/>
              <a:cs typeface="Tahoma" pitchFamily="34" charset="0"/>
            </a:endParaRPr>
          </a:p>
        </p:txBody>
      </p:sp>
      <p:pic>
        <p:nvPicPr>
          <p:cNvPr id="9" name="Picture 1093"/>
          <p:cNvPicPr>
            <a:picLocks noChangeAspect="1" noChangeArrowheads="1"/>
          </p:cNvPicPr>
          <p:nvPr/>
        </p:nvPicPr>
        <p:blipFill rotWithShape="1">
          <a:blip r:embed="rId13" cstate="print"/>
          <a:srcRect l="59509" t="88745" r="827" b="447"/>
          <a:stretch/>
        </p:blipFill>
        <p:spPr bwMode="auto">
          <a:xfrm>
            <a:off x="8253048" y="6208713"/>
            <a:ext cx="3938953" cy="65405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9532202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3" r:id="rId1"/>
    <p:sldLayoutId id="2147483684" r:id="rId2"/>
    <p:sldLayoutId id="2147483685" r:id="rId3"/>
    <p:sldLayoutId id="2147483686" r:id="rId4"/>
    <p:sldLayoutId id="2147483687" r:id="rId5"/>
    <p:sldLayoutId id="2147483688" r:id="rId6"/>
    <p:sldLayoutId id="2147483689" r:id="rId7"/>
    <p:sldLayoutId id="2147483690" r:id="rId8"/>
  </p:sldLayoutIdLs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kumimoji="0" lang="en-US" altLang="zh-CN" sz="2800" b="1" i="0" u="none" strike="noStrike" kern="1200" cap="none" spc="0" normalizeH="0" baseline="0" noProof="0" dirty="0" smtClean="0">
          <a:ln>
            <a:noFill/>
          </a:ln>
          <a:solidFill>
            <a:srgbClr val="4E297F"/>
          </a:solidFill>
          <a:effectLst/>
          <a:uLnTx/>
          <a:uFillTx/>
          <a:latin typeface="+mj-lt"/>
          <a:ea typeface="ＭＳ Ｐゴシック"/>
          <a:cs typeface="Arial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  <a:cs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  <a:cs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  <a:cs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  <a:cs typeface="Arial" charset="0"/>
        </a:defRPr>
      </a:lvl5pPr>
      <a:lvl6pPr marL="457182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  <a:cs typeface="Arial" charset="0"/>
        </a:defRPr>
      </a:lvl6pPr>
      <a:lvl7pPr marL="914364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  <a:cs typeface="Arial" charset="0"/>
        </a:defRPr>
      </a:lvl7pPr>
      <a:lvl8pPr marL="1371545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  <a:cs typeface="Arial" charset="0"/>
        </a:defRPr>
      </a:lvl8pPr>
      <a:lvl9pPr marL="1828727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228590" indent="-228590" algn="l" rtl="0" eaLnBrk="1" fontAlgn="base" hangingPunct="1">
        <a:spcBef>
          <a:spcPts val="400"/>
        </a:spcBef>
        <a:spcAft>
          <a:spcPct val="0"/>
        </a:spcAft>
        <a:buClr>
          <a:srgbClr val="FFC000"/>
        </a:buClr>
        <a:buSzPct val="70000"/>
        <a:buFont typeface="Wingdings" pitchFamily="2" charset="2"/>
        <a:buChar char="§"/>
        <a:defRPr sz="24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1pPr>
      <a:lvl2pPr marL="571477" indent="-228590" algn="l" rtl="0" eaLnBrk="1" fontAlgn="base" hangingPunct="1">
        <a:spcBef>
          <a:spcPts val="400"/>
        </a:spcBef>
        <a:spcAft>
          <a:spcPct val="0"/>
        </a:spcAft>
        <a:buClr>
          <a:srgbClr val="FFC000"/>
        </a:buClr>
        <a:buSzPct val="70000"/>
        <a:buFont typeface="Wingdings" pitchFamily="2" charset="2"/>
        <a:buChar char="§"/>
        <a:defRPr sz="20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2pPr>
      <a:lvl3pPr marL="914364" indent="-228590" algn="l" rtl="0" eaLnBrk="1" fontAlgn="base" hangingPunct="1">
        <a:spcBef>
          <a:spcPts val="400"/>
        </a:spcBef>
        <a:spcAft>
          <a:spcPct val="0"/>
        </a:spcAft>
        <a:buClr>
          <a:srgbClr val="FFC000"/>
        </a:buClr>
        <a:buSzPct val="70000"/>
        <a:buFont typeface="Wingdings" pitchFamily="2" charset="2"/>
        <a:buChar char="§"/>
        <a:defRPr sz="20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3pPr>
      <a:lvl4pPr marL="1371545" indent="-228590" algn="l" rtl="0" eaLnBrk="1" fontAlgn="base" hangingPunct="1">
        <a:spcBef>
          <a:spcPts val="400"/>
        </a:spcBef>
        <a:spcAft>
          <a:spcPct val="0"/>
        </a:spcAft>
        <a:buClr>
          <a:srgbClr val="FFC000"/>
        </a:buClr>
        <a:buSzPct val="70000"/>
        <a:buFont typeface="Wingdings" pitchFamily="2" charset="2"/>
        <a:buChar char="§"/>
        <a:defRPr sz="20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4pPr>
      <a:lvl5pPr marL="2057317" indent="-228590" algn="l" rtl="0" eaLnBrk="1" fontAlgn="base" hangingPunct="1">
        <a:spcBef>
          <a:spcPts val="400"/>
        </a:spcBef>
        <a:spcAft>
          <a:spcPct val="0"/>
        </a:spcAft>
        <a:buClr>
          <a:srgbClr val="FFC000"/>
        </a:buClr>
        <a:buSzPct val="70000"/>
        <a:buFont typeface="Wingdings" pitchFamily="2" charset="2"/>
        <a:buChar char="§"/>
        <a:defRPr sz="16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5pPr>
      <a:lvl6pPr marL="2514499" indent="-228590" algn="l" defTabSz="91436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81" indent="-228590" algn="l" defTabSz="91436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63" indent="-228590" algn="l" defTabSz="91436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44" indent="-228590" algn="l" defTabSz="91436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2" algn="l" defTabSz="91436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64" algn="l" defTabSz="91436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45" algn="l" defTabSz="91436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27" algn="l" defTabSz="91436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09" algn="l" defTabSz="91436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91" algn="l" defTabSz="91436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72" algn="l" defTabSz="91436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54" algn="l" defTabSz="91436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9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sv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8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15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14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15.xml"/><Relationship Id="rId5" Type="http://schemas.openxmlformats.org/officeDocument/2006/relationships/image" Target="../media/image52.png"/><Relationship Id="rId4" Type="http://schemas.openxmlformats.org/officeDocument/2006/relationships/image" Target="../media/image51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7.xml"/><Relationship Id="rId4" Type="http://schemas.openxmlformats.org/officeDocument/2006/relationships/image" Target="../media/image20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4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13" Type="http://schemas.openxmlformats.org/officeDocument/2006/relationships/image" Target="../media/image33.png"/><Relationship Id="rId3" Type="http://schemas.openxmlformats.org/officeDocument/2006/relationships/image" Target="../media/image23.png"/><Relationship Id="rId7" Type="http://schemas.openxmlformats.org/officeDocument/2006/relationships/image" Target="../media/image27.png"/><Relationship Id="rId12" Type="http://schemas.openxmlformats.org/officeDocument/2006/relationships/image" Target="../media/image32.png"/><Relationship Id="rId2" Type="http://schemas.openxmlformats.org/officeDocument/2006/relationships/image" Target="../media/image22.png"/><Relationship Id="rId16" Type="http://schemas.openxmlformats.org/officeDocument/2006/relationships/image" Target="../media/image36.png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26.png"/><Relationship Id="rId11" Type="http://schemas.openxmlformats.org/officeDocument/2006/relationships/image" Target="../media/image31.png"/><Relationship Id="rId5" Type="http://schemas.openxmlformats.org/officeDocument/2006/relationships/image" Target="../media/image25.png"/><Relationship Id="rId15" Type="http://schemas.openxmlformats.org/officeDocument/2006/relationships/image" Target="../media/image35.png"/><Relationship Id="rId10" Type="http://schemas.openxmlformats.org/officeDocument/2006/relationships/image" Target="../media/image30.png"/><Relationship Id="rId4" Type="http://schemas.openxmlformats.org/officeDocument/2006/relationships/image" Target="../media/image24.png"/><Relationship Id="rId9" Type="http://schemas.openxmlformats.org/officeDocument/2006/relationships/image" Target="../media/image29.png"/><Relationship Id="rId14" Type="http://schemas.openxmlformats.org/officeDocument/2006/relationships/image" Target="../media/image34.pn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46B0D2E4-D2BE-48A2-8B80-23B4D4FD3C4C}"/>
              </a:ext>
            </a:extLst>
          </p:cNvPr>
          <p:cNvSpPr txBox="1">
            <a:spLocks/>
          </p:cNvSpPr>
          <p:nvPr/>
        </p:nvSpPr>
        <p:spPr>
          <a:xfrm>
            <a:off x="1371600" y="1803405"/>
            <a:ext cx="9448800" cy="1825096"/>
          </a:xfrm>
          <a:prstGeom prst="rect">
            <a:avLst/>
          </a:prstGeom>
        </p:spPr>
        <p:txBody>
          <a:bodyPr vert="horz" lIns="0" tIns="64427" rIns="0" bIns="0" rtlCol="0" anchor="b" anchorCtr="0">
            <a:normAutofit fontScale="97500" lnSpcReduction="10000"/>
          </a:bodyPr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AU" sz="6000" b="1" kern="1200" spc="0" baseline="0">
                <a:solidFill>
                  <a:schemeClr val="tx1"/>
                </a:solidFill>
                <a:latin typeface="+mj-lt"/>
                <a:ea typeface="Arial" pitchFamily="-105" charset="-52"/>
                <a:cs typeface="Arial" pitchFamily="34" charset="0"/>
              </a:defRPr>
            </a:lvl1pPr>
            <a:lvl2pPr algn="l" rtl="0" eaLnBrk="1" fontAlgn="base" hangingPunct="1">
              <a:lnSpc>
                <a:spcPts val="3465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sz="3215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2pPr>
            <a:lvl3pPr algn="l" rtl="0" eaLnBrk="1" fontAlgn="base" hangingPunct="1">
              <a:lnSpc>
                <a:spcPts val="3465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sz="3215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3pPr>
            <a:lvl4pPr algn="l" rtl="0" eaLnBrk="1" fontAlgn="base" hangingPunct="1">
              <a:lnSpc>
                <a:spcPts val="3465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sz="3215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4pPr>
            <a:lvl5pPr algn="l" rtl="0" eaLnBrk="1" fontAlgn="base" hangingPunct="1">
              <a:lnSpc>
                <a:spcPts val="3465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sz="3215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5pPr>
            <a:lvl6pPr marL="609292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3405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6pPr>
            <a:lvl7pPr marL="1218585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3405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7pPr>
            <a:lvl8pPr marL="1827878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3405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8pPr>
            <a:lvl9pPr marL="2437170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3405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kumimoji="0" lang="en-US" sz="6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 pitchFamily="34" charset="0"/>
              </a:rPr>
              <a:t>Timeseries prediction using neural networks</a:t>
            </a:r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36717AF8-DBDB-4023-B911-ADE5BAB23780}"/>
              </a:ext>
            </a:extLst>
          </p:cNvPr>
          <p:cNvSpPr txBox="1">
            <a:spLocks/>
          </p:cNvSpPr>
          <p:nvPr/>
        </p:nvSpPr>
        <p:spPr>
          <a:xfrm>
            <a:off x="1371600" y="3632201"/>
            <a:ext cx="9448800" cy="685800"/>
          </a:xfrm>
          <a:prstGeom prst="rect">
            <a:avLst/>
          </a:prstGeom>
        </p:spPr>
        <p:txBody>
          <a:bodyPr vert="horz" lIns="0" tIns="64427" rIns="0" bIns="64427" rtlCol="0">
            <a:normAutofit/>
          </a:bodyPr>
          <a:lstStyle>
            <a:lvl1pPr marL="0" indent="0" algn="l" rtl="0" eaLnBrk="1" fontAlgn="base" hangingPunct="1">
              <a:spcBef>
                <a:spcPts val="800"/>
              </a:spcBef>
              <a:spcAft>
                <a:spcPct val="0"/>
              </a:spcAft>
              <a:buFont typeface="Arial" pitchFamily="34" charset="0"/>
              <a:buNone/>
              <a:defRPr sz="20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1pPr>
            <a:lvl2pPr marL="457200" indent="0" algn="ctr" rtl="0" eaLnBrk="1" fontAlgn="base" hangingPunct="1">
              <a:spcBef>
                <a:spcPts val="800"/>
              </a:spcBef>
              <a:spcAft>
                <a:spcPct val="0"/>
              </a:spcAft>
              <a:buFont typeface="Arial" pitchFamily="34" charset="0"/>
              <a:buNone/>
              <a:defRPr sz="20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2pPr>
            <a:lvl3pPr marL="914400" indent="0" algn="ctr" rtl="0" eaLnBrk="1" fontAlgn="base" hangingPunct="1">
              <a:spcBef>
                <a:spcPts val="800"/>
              </a:spcBef>
              <a:spcAft>
                <a:spcPct val="0"/>
              </a:spcAft>
              <a:buFont typeface="Arial" pitchFamily="34" charset="0"/>
              <a:buNone/>
              <a:tabLst/>
              <a:defRPr sz="18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3pPr>
            <a:lvl4pPr marL="1371600" indent="0" algn="ctr" rtl="0" eaLnBrk="1" fontAlgn="base" hangingPunct="1">
              <a:spcBef>
                <a:spcPts val="800"/>
              </a:spcBef>
              <a:spcAft>
                <a:spcPct val="0"/>
              </a:spcAft>
              <a:buFont typeface="Arial" pitchFamily="34" charset="0"/>
              <a:buNone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4pPr>
            <a:lvl5pPr marL="1828800" indent="0" algn="ctr" rtl="0" eaLnBrk="1" fontAlgn="base" hangingPunct="1">
              <a:spcBef>
                <a:spcPts val="800"/>
              </a:spcBef>
              <a:spcAft>
                <a:spcPct val="0"/>
              </a:spcAft>
              <a:buFont typeface="Arial" pitchFamily="34" charset="0"/>
              <a:buNone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5pPr>
            <a:lvl6pPr marL="2286000" indent="0" algn="ctr" defTabSz="1218585" rtl="0" eaLnBrk="1" latinLnBrk="0" hangingPunct="1">
              <a:spcBef>
                <a:spcPct val="20000"/>
              </a:spcBef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1218585" rtl="0" eaLnBrk="1" latinLnBrk="0" hangingPunct="1">
              <a:spcBef>
                <a:spcPct val="20000"/>
              </a:spcBef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1218585" rtl="0" eaLnBrk="1" latinLnBrk="0" hangingPunct="1">
              <a:spcBef>
                <a:spcPct val="20000"/>
              </a:spcBef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1218585" rtl="0" eaLnBrk="1" latinLnBrk="0" hangingPunct="1">
              <a:spcBef>
                <a:spcPct val="20000"/>
              </a:spcBef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  <a:latin typeface="Arial"/>
                <a:cs typeface="Arial" pitchFamily="34" charset="0"/>
              </a:rPr>
              <a:t>Nanut Chaichanawanich (Na)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666666"/>
              </a:solidFill>
              <a:effectLst/>
              <a:uLnTx/>
              <a:uFillTx/>
              <a:latin typeface="Arial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7026091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F0927C5F-C99C-4973-8D8A-219634D44A3A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558119" y="1222131"/>
            <a:ext cx="7315199" cy="4360248"/>
          </a:xfrm>
        </p:spPr>
        <p:txBody>
          <a:bodyPr/>
          <a:lstStyle/>
          <a:p>
            <a:pPr marL="285750" indent="-285750"/>
            <a:r>
              <a:rPr lang="en-US" sz="1800" dirty="0"/>
              <a:t>Semi-supervised learning</a:t>
            </a:r>
          </a:p>
          <a:p>
            <a:pPr marL="285750" indent="-285750"/>
            <a:r>
              <a:rPr lang="en-US" sz="1800" dirty="0"/>
              <a:t>Two-layer neural network</a:t>
            </a:r>
          </a:p>
          <a:p>
            <a:pPr marL="285750" indent="-285750"/>
            <a:r>
              <a:rPr lang="en-US" sz="1800" dirty="0"/>
              <a:t>Convert words to vector in high dimensional space, and through a large corpus understands that words that have similar meaning appear in similar context.</a:t>
            </a:r>
          </a:p>
          <a:p>
            <a:pPr marL="285750" indent="-285750"/>
            <a:r>
              <a:rPr lang="en-US" sz="1800" dirty="0"/>
              <a:t>Two type of algorithm:</a:t>
            </a:r>
          </a:p>
          <a:p>
            <a:pPr marL="552363" lvl="1" indent="-285750"/>
            <a:r>
              <a:rPr lang="en-US" sz="1800" dirty="0"/>
              <a:t>Continuous bag of words (CBOW)</a:t>
            </a:r>
          </a:p>
          <a:p>
            <a:pPr marL="552363" lvl="1" indent="-285750"/>
            <a:r>
              <a:rPr lang="en-US" sz="1800" dirty="0"/>
              <a:t>Skip-gram model</a:t>
            </a:r>
          </a:p>
          <a:p>
            <a:pPr marL="285750" indent="-285750"/>
            <a:r>
              <a:rPr lang="en-US" sz="1800" dirty="0" err="1"/>
              <a:t>Gensim</a:t>
            </a:r>
            <a:r>
              <a:rPr lang="en-US" sz="1800" dirty="0"/>
              <a:t> implementation</a:t>
            </a:r>
          </a:p>
          <a:p>
            <a:pPr marL="552363" lvl="1" indent="-285750"/>
            <a:r>
              <a:rPr lang="en-US" sz="1200" dirty="0"/>
              <a:t>Window size</a:t>
            </a:r>
          </a:p>
          <a:p>
            <a:pPr marL="552363" lvl="1" indent="-285750"/>
            <a:r>
              <a:rPr lang="en-US" sz="1200" dirty="0"/>
              <a:t>Dimension of output</a:t>
            </a:r>
          </a:p>
          <a:p>
            <a:pPr marL="552363" lvl="1" indent="-285750"/>
            <a:r>
              <a:rPr lang="en-US" sz="1200" dirty="0" err="1"/>
              <a:t>min_count</a:t>
            </a:r>
            <a:endParaRPr lang="en-US" sz="1200" dirty="0"/>
          </a:p>
          <a:p>
            <a:pPr marL="552363" lvl="1" indent="-285750"/>
            <a:endParaRPr lang="en-US" sz="1800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7F127F17-6A75-4517-BF6B-388A4C07F4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ord2vec 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14D003F-8A79-4883-9017-ABE1D0BD7E6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782057" y="2946747"/>
            <a:ext cx="2311142" cy="3228044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6DD1EDCD-CB75-4591-9994-7E3D418F491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034381" y="276957"/>
            <a:ext cx="3532092" cy="25629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106108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F127F17-6A75-4517-BF6B-388A4C07F4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ining Datasets 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28DECC3A-ED2F-43A1-9F2D-DB8211C234E4}"/>
              </a:ext>
            </a:extLst>
          </p:cNvPr>
          <p:cNvSpPr txBox="1">
            <a:spLocks/>
          </p:cNvSpPr>
          <p:nvPr/>
        </p:nvSpPr>
        <p:spPr>
          <a:xfrm>
            <a:off x="6499467" y="867430"/>
            <a:ext cx="5079991" cy="823912"/>
          </a:xfrm>
          <a:prstGeom prst="rect">
            <a:avLst/>
          </a:prstGeom>
        </p:spPr>
        <p:txBody>
          <a:bodyPr/>
          <a:lstStyle>
            <a:lvl1pPr marL="182503" indent="-182503" algn="l" rtl="0" eaLnBrk="1" fontAlgn="base" hangingPunct="1">
              <a:spcBef>
                <a:spcPts val="800"/>
              </a:spcBef>
              <a:spcAft>
                <a:spcPct val="0"/>
              </a:spcAft>
              <a:buFont typeface="Arial" pitchFamily="34" charset="0"/>
              <a:buChar char="•"/>
              <a:defRPr sz="1702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1pPr>
            <a:lvl2pPr marL="449116" indent="-266613" algn="l" rtl="0" eaLnBrk="1" fontAlgn="base" hangingPunct="1">
              <a:spcBef>
                <a:spcPts val="800"/>
              </a:spcBef>
              <a:spcAft>
                <a:spcPct val="0"/>
              </a:spcAft>
              <a:buFont typeface="Arial" pitchFamily="34" charset="0"/>
              <a:buChar char="–"/>
              <a:defRPr sz="1702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2pPr>
            <a:lvl3pPr marL="625269" indent="-176156" algn="l" rtl="0" eaLnBrk="1" fontAlgn="base" hangingPunct="1">
              <a:spcBef>
                <a:spcPts val="800"/>
              </a:spcBef>
              <a:spcAft>
                <a:spcPct val="0"/>
              </a:spcAft>
              <a:buFont typeface="Arial" pitchFamily="34" charset="0"/>
              <a:buChar char="•"/>
              <a:tabLst/>
              <a:defRPr sz="1702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3pPr>
            <a:lvl4pPr marL="898230" indent="-272960" algn="l" rtl="0" eaLnBrk="1" fontAlgn="base" hangingPunct="1">
              <a:spcBef>
                <a:spcPts val="800"/>
              </a:spcBef>
              <a:spcAft>
                <a:spcPct val="0"/>
              </a:spcAft>
              <a:buFont typeface="Arial" pitchFamily="34" charset="0"/>
              <a:buChar char="–"/>
              <a:defRPr sz="1702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4pPr>
            <a:lvl5pPr marL="1074384" indent="-176156" algn="l" rtl="0" eaLnBrk="1" fontAlgn="base" hangingPunct="1">
              <a:spcBef>
                <a:spcPts val="800"/>
              </a:spcBef>
              <a:spcAft>
                <a:spcPct val="0"/>
              </a:spcAft>
              <a:buFont typeface="Arial" pitchFamily="34" charset="0"/>
              <a:buChar char="•"/>
              <a:defRPr sz="1702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5pPr>
            <a:lvl6pPr marL="3351108" indent="-304647" algn="l" defTabSz="121858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4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402" indent="-304647" algn="l" defTabSz="121858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4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694" indent="-304647" algn="l" defTabSz="121858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4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8986" indent="-304647" algn="l" defTabSz="121858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4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b="1" dirty="0"/>
              <a:t>HSE Thai Corpus (Wiki: ~11Gb)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681AF820-67A4-4B4E-96B8-CE019959DC43}"/>
              </a:ext>
            </a:extLst>
          </p:cNvPr>
          <p:cNvSpPr txBox="1">
            <a:spLocks/>
          </p:cNvSpPr>
          <p:nvPr/>
        </p:nvSpPr>
        <p:spPr>
          <a:xfrm>
            <a:off x="525598" y="1290324"/>
            <a:ext cx="5105400" cy="823912"/>
          </a:xfrm>
          <a:prstGeom prst="rect">
            <a:avLst/>
          </a:prstGeom>
        </p:spPr>
        <p:txBody>
          <a:bodyPr/>
          <a:lstStyle>
            <a:lvl1pPr marL="182503" indent="-182503" algn="l" rtl="0" eaLnBrk="1" fontAlgn="base" hangingPunct="1">
              <a:spcBef>
                <a:spcPts val="800"/>
              </a:spcBef>
              <a:spcAft>
                <a:spcPct val="0"/>
              </a:spcAft>
              <a:buFont typeface="Arial" pitchFamily="34" charset="0"/>
              <a:buChar char="•"/>
              <a:defRPr sz="1702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1pPr>
            <a:lvl2pPr marL="449116" indent="-266613" algn="l" rtl="0" eaLnBrk="1" fontAlgn="base" hangingPunct="1">
              <a:spcBef>
                <a:spcPts val="800"/>
              </a:spcBef>
              <a:spcAft>
                <a:spcPct val="0"/>
              </a:spcAft>
              <a:buFont typeface="Arial" pitchFamily="34" charset="0"/>
              <a:buChar char="–"/>
              <a:defRPr sz="1702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2pPr>
            <a:lvl3pPr marL="625269" indent="-176156" algn="l" rtl="0" eaLnBrk="1" fontAlgn="base" hangingPunct="1">
              <a:spcBef>
                <a:spcPts val="800"/>
              </a:spcBef>
              <a:spcAft>
                <a:spcPct val="0"/>
              </a:spcAft>
              <a:buFont typeface="Arial" pitchFamily="34" charset="0"/>
              <a:buChar char="•"/>
              <a:tabLst/>
              <a:defRPr sz="1702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3pPr>
            <a:lvl4pPr marL="898230" indent="-272960" algn="l" rtl="0" eaLnBrk="1" fontAlgn="base" hangingPunct="1">
              <a:spcBef>
                <a:spcPts val="800"/>
              </a:spcBef>
              <a:spcAft>
                <a:spcPct val="0"/>
              </a:spcAft>
              <a:buFont typeface="Arial" pitchFamily="34" charset="0"/>
              <a:buChar char="–"/>
              <a:defRPr sz="1702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4pPr>
            <a:lvl5pPr marL="1074384" indent="-176156" algn="l" rtl="0" eaLnBrk="1" fontAlgn="base" hangingPunct="1">
              <a:spcBef>
                <a:spcPts val="800"/>
              </a:spcBef>
              <a:spcAft>
                <a:spcPct val="0"/>
              </a:spcAft>
              <a:buFont typeface="Arial" pitchFamily="34" charset="0"/>
              <a:buChar char="•"/>
              <a:defRPr sz="1702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5pPr>
            <a:lvl6pPr marL="3351108" indent="-304647" algn="l" defTabSz="121858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4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402" indent="-304647" algn="l" defTabSz="121858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4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694" indent="-304647" algn="l" defTabSz="121858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4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8986" indent="-304647" algn="l" defTabSz="121858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4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b="1" dirty="0"/>
              <a:t>NECTEC ~300MB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7DD22D21-9EEA-4F41-88B9-F4FD90DA46F7}"/>
              </a:ext>
            </a:extLst>
          </p:cNvPr>
          <p:cNvSpPr txBox="1">
            <a:spLocks/>
          </p:cNvSpPr>
          <p:nvPr/>
        </p:nvSpPr>
        <p:spPr>
          <a:xfrm>
            <a:off x="470374" y="1971895"/>
            <a:ext cx="5311775" cy="3528239"/>
          </a:xfrm>
          <a:prstGeom prst="rect">
            <a:avLst/>
          </a:prstGeom>
        </p:spPr>
        <p:txBody>
          <a:bodyPr>
            <a:normAutofit fontScale="85000" lnSpcReduction="20000"/>
          </a:bodyPr>
          <a:lstStyle>
            <a:lvl1pPr marL="182503" indent="-182503" algn="l" rtl="0" eaLnBrk="1" fontAlgn="base" hangingPunct="1">
              <a:spcBef>
                <a:spcPts val="800"/>
              </a:spcBef>
              <a:spcAft>
                <a:spcPct val="0"/>
              </a:spcAft>
              <a:buFont typeface="Arial" pitchFamily="34" charset="0"/>
              <a:buChar char="•"/>
              <a:defRPr sz="1702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1pPr>
            <a:lvl2pPr marL="449116" indent="-266613" algn="l" rtl="0" eaLnBrk="1" fontAlgn="base" hangingPunct="1">
              <a:spcBef>
                <a:spcPts val="800"/>
              </a:spcBef>
              <a:spcAft>
                <a:spcPct val="0"/>
              </a:spcAft>
              <a:buFont typeface="Arial" pitchFamily="34" charset="0"/>
              <a:buChar char="–"/>
              <a:defRPr sz="1702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2pPr>
            <a:lvl3pPr marL="625269" indent="-176156" algn="l" rtl="0" eaLnBrk="1" fontAlgn="base" hangingPunct="1">
              <a:spcBef>
                <a:spcPts val="800"/>
              </a:spcBef>
              <a:spcAft>
                <a:spcPct val="0"/>
              </a:spcAft>
              <a:buFont typeface="Arial" pitchFamily="34" charset="0"/>
              <a:buChar char="•"/>
              <a:tabLst/>
              <a:defRPr sz="1702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3pPr>
            <a:lvl4pPr marL="898230" indent="-272960" algn="l" rtl="0" eaLnBrk="1" fontAlgn="base" hangingPunct="1">
              <a:spcBef>
                <a:spcPts val="800"/>
              </a:spcBef>
              <a:spcAft>
                <a:spcPct val="0"/>
              </a:spcAft>
              <a:buFont typeface="Arial" pitchFamily="34" charset="0"/>
              <a:buChar char="–"/>
              <a:defRPr sz="1702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4pPr>
            <a:lvl5pPr marL="1074384" indent="-176156" algn="l" rtl="0" eaLnBrk="1" fontAlgn="base" hangingPunct="1">
              <a:spcBef>
                <a:spcPts val="800"/>
              </a:spcBef>
              <a:spcAft>
                <a:spcPct val="0"/>
              </a:spcAft>
              <a:buFont typeface="Arial" pitchFamily="34" charset="0"/>
              <a:buChar char="•"/>
              <a:defRPr sz="1702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5pPr>
            <a:lvl6pPr marL="3351108" indent="-304647" algn="l" defTabSz="121858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4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402" indent="-304647" algn="l" defTabSz="121858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4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694" indent="-304647" algn="l" defTabSz="121858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4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8986" indent="-304647" algn="l" defTabSz="121858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4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itchFamily="34" charset="0"/>
              <a:buNone/>
            </a:pPr>
            <a:r>
              <a:rPr lang="th-TH" dirty="0"/>
              <a:t>เมื่อ|กล่าว|ถึง| |"|ความ|ยากจน|"| |และ| |"|กฎหมาย|"| |ใน|ทัศนะ|ของ|คน|</a:t>
            </a:r>
            <a:r>
              <a:rPr lang="th-TH" dirty="0" err="1"/>
              <a:t>ทั่วๆ</a:t>
            </a:r>
            <a:r>
              <a:rPr lang="th-TH" dirty="0"/>
              <a:t> ไป|อาจ|จะ|มอง|ว่า| |เป็น|เรื่อง|ที่|กฎหมาย|จะ|สามารถ|เข้า|ไป|แก้ไข|ปัญหา|ความ|ยากจน|ได้| |และ|ละ|ไว้|ใน|ฐาน|ที่|เข้าใจ|และ|ถูก|ทำ|ให้|เชื่อ|มา|โดย|ตลอด|ว่า| |การ|ใช้|อำนาจ|ทาง|กฎหมาย|จะ|ทำ|ให้|สังคม|เกิด|ความ|เป็นธรรม|ขึ้น|มา|ใน|ที่สุด| |แต่|ใน|ความ|เป็น|จริง|ที่|ไม่|อาจ|ที่|จะ|ปฏิเสธ|ได้|ก็|คือ| |นับ|วัน|ความ|รู้|ว่า|ใน|ทาง|กฎหมาย|ที่|จะ|นำ|ไป|สู่|ความ|เสมอภาค| |ความ|เป็นธรรม|กลับ|เลือนลางจางลง| |ไม่|สามารถ|ที่|จะ|หวัง|พึ่ง|ได้| |สม|ดัง|ที่|มัน|ควร|จะ|เป็น|</a:t>
            </a:r>
            <a:r>
              <a:rPr lang="en-US" dirty="0"/>
              <a:t> </a:t>
            </a:r>
            <a:r>
              <a:rPr lang="th-TH" dirty="0"/>
              <a:t>ใน|ทาง|ด้าน|สังคมศาสตร์| |ปัญหา|ประการ|หนึ่ง|ของ|ความ|รู้|ทาง|ด้าน|นี้|ก็|คือ| |การ|ที่|ไม่|สามารถ|ที่|จะ|จับต้อง|ได้|เป็น|รูปธรรม|ชัดเจน|เหมือน|กับ|ความ|รู้|ทาง|ด้าน|วิทยาศาสตร์|กายภาพ| |แต่|ใน|จุด|ด้อย|ดัง|กล่าว|ก็|ถือ|เป็น|จุดเด่น|ใน|เวลา|เดียว|กัน| |กล่าว|คือ| |การ|ไม่|ถูก|จำกัด|โดย|สัมผัส|ทั้ง|ห้า| |จึง|ทำ|ให้|สามารถ|ที่|จะ|ใช้|จินตนาการ|ได้|กว้างไกล|เท่า|ที่|จะ|มี|ใน|การ|แก้|ปัญหา| |แต่|ก็|ต้อง|เป็น|จินตนาการ|ที่ตั้ง|อยู่|บน|ข้อมูล|ที่|เป็น|ข้อ|เท็จจริง|ใน|การ|นำ|ไป|สู่|การ|แสวงหา|ทาง|ออก|ของ|ปัญหา| |ดัง|นั้น| |แม้|สังคมศาสตร์|จะ|ถูก|นโยบาย|ทาง|การ|ศึกษา|กำหนด|ไว้|ว่า| |ไม่|ใช่|สาขา|ที่|ขาดแคลน|(|ใน|เชิง|ตัว|เลข|ของ|)|ผู้|สำเร็จ|การ|ศึกษา|ก็ตาม| |แต่|ใน|ความ|เป็น|จริง|ที่|น่ากลัว|ก็|คือ| |สังคม|ไทย|ขาดแคลน|องค์|ความ|รู้|และ|เครื่องมือ|ใน|การ|แสวงหา| |หรือ|สร้าง|องค์|ความ|รู้|ที่|เป็น|ของ|สังคม|ไทย|ขึ้น|มา|เอง| |ดัง|จะ|เห็น|ได้|จาก|การ|แก้|ปัญหา|หลาย|ๆ|อย่าง|ที่|เกิด|ขึ้น|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D0669C4-AD23-4B19-9764-98DC16FF0580}"/>
              </a:ext>
            </a:extLst>
          </p:cNvPr>
          <p:cNvSpPr txBox="1"/>
          <p:nvPr/>
        </p:nvSpPr>
        <p:spPr>
          <a:xfrm>
            <a:off x="6552211" y="1186960"/>
            <a:ext cx="4956920" cy="52211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&lt;se&gt;</a:t>
            </a:r>
          </a:p>
          <a:p>
            <a:r>
              <a:rPr lang="en-US" sz="800" dirty="0"/>
              <a:t>&lt;w&gt;</a:t>
            </a:r>
          </a:p>
          <a:p>
            <a:r>
              <a:rPr lang="th-TH" sz="800" dirty="0"/>
              <a:t>สถาบัน&lt;</a:t>
            </a:r>
            <a:r>
              <a:rPr lang="en-US" sz="800" dirty="0" err="1"/>
              <a:t>ana</a:t>
            </a:r>
            <a:r>
              <a:rPr lang="en-US" sz="800" dirty="0"/>
              <a:t> </a:t>
            </a:r>
            <a:r>
              <a:rPr lang="en-US" sz="800" dirty="0" err="1"/>
              <a:t>lex</a:t>
            </a:r>
            <a:r>
              <a:rPr lang="en-US" sz="800" dirty="0"/>
              <a:t>="</a:t>
            </a:r>
            <a:r>
              <a:rPr lang="th-TH" sz="800" dirty="0"/>
              <a:t>สถาบัน" </a:t>
            </a:r>
            <a:r>
              <a:rPr lang="en-US" sz="800" dirty="0"/>
              <a:t>pos="noun" trans="institute" </a:t>
            </a:r>
            <a:r>
              <a:rPr lang="en-US" sz="800" dirty="0" err="1"/>
              <a:t>translit</a:t>
            </a:r>
            <a:r>
              <a:rPr lang="en-US" sz="800" dirty="0"/>
              <a:t>=""/&gt;</a:t>
            </a:r>
          </a:p>
          <a:p>
            <a:r>
              <a:rPr lang="en-US" sz="800" dirty="0"/>
              <a:t>&lt;</a:t>
            </a:r>
            <a:r>
              <a:rPr lang="en-US" sz="800" dirty="0" err="1"/>
              <a:t>ana</a:t>
            </a:r>
            <a:r>
              <a:rPr lang="en-US" sz="800" dirty="0"/>
              <a:t> </a:t>
            </a:r>
            <a:r>
              <a:rPr lang="en-US" sz="800" dirty="0" err="1"/>
              <a:t>lex</a:t>
            </a:r>
            <a:r>
              <a:rPr lang="en-US" sz="800" dirty="0"/>
              <a:t>="</a:t>
            </a:r>
            <a:r>
              <a:rPr lang="th-TH" sz="800" dirty="0"/>
              <a:t>สถาบัน" </a:t>
            </a:r>
            <a:r>
              <a:rPr lang="en-US" sz="800" dirty="0"/>
              <a:t>pos="noun" trans="institution" </a:t>
            </a:r>
            <a:r>
              <a:rPr lang="en-US" sz="800" dirty="0" err="1"/>
              <a:t>translit</a:t>
            </a:r>
            <a:r>
              <a:rPr lang="en-US" sz="800" dirty="0"/>
              <a:t>=""/&gt;</a:t>
            </a:r>
          </a:p>
          <a:p>
            <a:r>
              <a:rPr lang="en-US" sz="800" dirty="0"/>
              <a:t>&lt;/w&gt;</a:t>
            </a:r>
          </a:p>
          <a:p>
            <a:r>
              <a:rPr lang="en-US" sz="800" dirty="0"/>
              <a:t>&lt;w&gt;</a:t>
            </a:r>
          </a:p>
          <a:p>
            <a:r>
              <a:rPr lang="th-TH" sz="800" dirty="0"/>
              <a:t>เทคโนโลยี&lt;</a:t>
            </a:r>
            <a:r>
              <a:rPr lang="en-US" sz="800" dirty="0" err="1"/>
              <a:t>ana</a:t>
            </a:r>
            <a:r>
              <a:rPr lang="en-US" sz="800" dirty="0"/>
              <a:t> </a:t>
            </a:r>
            <a:r>
              <a:rPr lang="en-US" sz="800" dirty="0" err="1"/>
              <a:t>lex</a:t>
            </a:r>
            <a:r>
              <a:rPr lang="en-US" sz="800" dirty="0"/>
              <a:t>="</a:t>
            </a:r>
            <a:r>
              <a:rPr lang="th-TH" sz="800" dirty="0"/>
              <a:t>เทคโนโลยี" </a:t>
            </a:r>
            <a:r>
              <a:rPr lang="en-US" sz="800" dirty="0"/>
              <a:t>pos="</a:t>
            </a:r>
            <a:r>
              <a:rPr lang="en-US" sz="800" dirty="0" err="1"/>
              <a:t>loanword,English</a:t>
            </a:r>
            <a:r>
              <a:rPr lang="en-US" sz="800" dirty="0"/>
              <a:t>" trans="[Thai transcription of the foreign loanword, "technology"]" </a:t>
            </a:r>
            <a:r>
              <a:rPr lang="en-US" sz="800" dirty="0" err="1"/>
              <a:t>translit</a:t>
            </a:r>
            <a:r>
              <a:rPr lang="en-US" sz="800" dirty="0"/>
              <a:t>="</a:t>
            </a:r>
            <a:r>
              <a:rPr lang="en-US" sz="800" dirty="0" err="1"/>
              <a:t>thaehkF</a:t>
            </a:r>
            <a:r>
              <a:rPr lang="en-US" sz="800" dirty="0"/>
              <a:t> </a:t>
            </a:r>
            <a:r>
              <a:rPr lang="en-US" sz="800" dirty="0" err="1"/>
              <a:t>no:hM</a:t>
            </a:r>
            <a:r>
              <a:rPr lang="en-US" sz="800" dirty="0"/>
              <a:t> </a:t>
            </a:r>
            <a:r>
              <a:rPr lang="en-US" sz="800" dirty="0" err="1"/>
              <a:t>lo:hM</a:t>
            </a:r>
            <a:r>
              <a:rPr lang="en-US" sz="800" dirty="0"/>
              <a:t> </a:t>
            </a:r>
            <a:r>
              <a:rPr lang="en-US" sz="800" dirty="0" err="1"/>
              <a:t>yeeM</a:t>
            </a:r>
            <a:r>
              <a:rPr lang="en-US" sz="800" dirty="0"/>
              <a:t>"/&gt;</a:t>
            </a:r>
          </a:p>
          <a:p>
            <a:r>
              <a:rPr lang="en-US" sz="800" dirty="0"/>
              <a:t>&lt;</a:t>
            </a:r>
            <a:r>
              <a:rPr lang="en-US" sz="800" dirty="0" err="1"/>
              <a:t>ana</a:t>
            </a:r>
            <a:r>
              <a:rPr lang="en-US" sz="800" dirty="0"/>
              <a:t> </a:t>
            </a:r>
            <a:r>
              <a:rPr lang="en-US" sz="800" dirty="0" err="1"/>
              <a:t>lex</a:t>
            </a:r>
            <a:r>
              <a:rPr lang="en-US" sz="800" dirty="0"/>
              <a:t>="</a:t>
            </a:r>
            <a:r>
              <a:rPr lang="th-TH" sz="800" dirty="0"/>
              <a:t>เทคโนโลยี" </a:t>
            </a:r>
            <a:r>
              <a:rPr lang="en-US" sz="800" dirty="0"/>
              <a:t>pos="</a:t>
            </a:r>
            <a:r>
              <a:rPr lang="en-US" sz="800" dirty="0" err="1"/>
              <a:t>noun,loanword,English</a:t>
            </a:r>
            <a:r>
              <a:rPr lang="en-US" sz="800" dirty="0"/>
              <a:t>" trans="[Thai transcription of foreign loan word "technology"]" </a:t>
            </a:r>
            <a:r>
              <a:rPr lang="en-US" sz="800" dirty="0" err="1"/>
              <a:t>translit</a:t>
            </a:r>
            <a:r>
              <a:rPr lang="en-US" sz="800" dirty="0"/>
              <a:t>="</a:t>
            </a:r>
            <a:r>
              <a:rPr lang="en-US" sz="800" dirty="0" err="1"/>
              <a:t>thaehkF</a:t>
            </a:r>
            <a:r>
              <a:rPr lang="en-US" sz="800" dirty="0"/>
              <a:t> </a:t>
            </a:r>
            <a:r>
              <a:rPr lang="en-US" sz="800" dirty="0" err="1"/>
              <a:t>no:hM</a:t>
            </a:r>
            <a:r>
              <a:rPr lang="en-US" sz="800" dirty="0"/>
              <a:t> </a:t>
            </a:r>
            <a:r>
              <a:rPr lang="en-US" sz="800" dirty="0" err="1"/>
              <a:t>lo:hM</a:t>
            </a:r>
            <a:r>
              <a:rPr lang="en-US" sz="800" dirty="0"/>
              <a:t> </a:t>
            </a:r>
            <a:r>
              <a:rPr lang="en-US" sz="800" dirty="0" err="1"/>
              <a:t>yeeM</a:t>
            </a:r>
            <a:r>
              <a:rPr lang="en-US" sz="800" dirty="0"/>
              <a:t>"/&gt;</a:t>
            </a:r>
          </a:p>
          <a:p>
            <a:r>
              <a:rPr lang="en-US" sz="800" dirty="0"/>
              <a:t>&lt;</a:t>
            </a:r>
            <a:r>
              <a:rPr lang="en-US" sz="800" dirty="0" err="1"/>
              <a:t>ana</a:t>
            </a:r>
            <a:r>
              <a:rPr lang="en-US" sz="800" dirty="0"/>
              <a:t> </a:t>
            </a:r>
            <a:r>
              <a:rPr lang="en-US" sz="800" dirty="0" err="1"/>
              <a:t>lex</a:t>
            </a:r>
            <a:r>
              <a:rPr lang="en-US" sz="800" dirty="0"/>
              <a:t>="</a:t>
            </a:r>
            <a:r>
              <a:rPr lang="th-TH" sz="800" dirty="0"/>
              <a:t>เทคโนโลยี" </a:t>
            </a:r>
            <a:r>
              <a:rPr lang="en-US" sz="800" dirty="0"/>
              <a:t>pos="" trans="techno-" </a:t>
            </a:r>
            <a:r>
              <a:rPr lang="en-US" sz="800" dirty="0" err="1"/>
              <a:t>translit</a:t>
            </a:r>
            <a:r>
              <a:rPr lang="en-US" sz="800" dirty="0"/>
              <a:t>=""/&gt;</a:t>
            </a:r>
          </a:p>
          <a:p>
            <a:r>
              <a:rPr lang="en-US" sz="800" dirty="0"/>
              <a:t>&lt;/w&gt;</a:t>
            </a:r>
          </a:p>
          <a:p>
            <a:r>
              <a:rPr lang="en-US" sz="800" dirty="0"/>
              <a:t>&lt;w&gt;</a:t>
            </a:r>
          </a:p>
          <a:p>
            <a:r>
              <a:rPr lang="th-TH" sz="800" dirty="0"/>
              <a:t>พระ&lt;</a:t>
            </a:r>
            <a:r>
              <a:rPr lang="en-US" sz="800" dirty="0" err="1"/>
              <a:t>ana</a:t>
            </a:r>
            <a:r>
              <a:rPr lang="en-US" sz="800" dirty="0"/>
              <a:t> </a:t>
            </a:r>
            <a:r>
              <a:rPr lang="en-US" sz="800" dirty="0" err="1"/>
              <a:t>lex</a:t>
            </a:r>
            <a:r>
              <a:rPr lang="en-US" sz="800" dirty="0"/>
              <a:t>="</a:t>
            </a:r>
            <a:r>
              <a:rPr lang="th-TH" sz="800" dirty="0"/>
              <a:t>พระ" </a:t>
            </a:r>
            <a:r>
              <a:rPr lang="en-US" sz="800" dirty="0"/>
              <a:t>pos="" trans="priest" </a:t>
            </a:r>
            <a:r>
              <a:rPr lang="en-US" sz="800" dirty="0" err="1"/>
              <a:t>translit</a:t>
            </a:r>
            <a:r>
              <a:rPr lang="en-US" sz="800" dirty="0"/>
              <a:t>=""/&gt;</a:t>
            </a:r>
          </a:p>
          <a:p>
            <a:r>
              <a:rPr lang="en-US" sz="800" dirty="0"/>
              <a:t>&lt;</a:t>
            </a:r>
            <a:r>
              <a:rPr lang="en-US" sz="800" dirty="0" err="1"/>
              <a:t>ana</a:t>
            </a:r>
            <a:r>
              <a:rPr lang="en-US" sz="800" dirty="0"/>
              <a:t> </a:t>
            </a:r>
            <a:r>
              <a:rPr lang="en-US" sz="800" dirty="0" err="1"/>
              <a:t>lex</a:t>
            </a:r>
            <a:r>
              <a:rPr lang="en-US" sz="800" dirty="0"/>
              <a:t>="</a:t>
            </a:r>
            <a:r>
              <a:rPr lang="th-TH" sz="800" dirty="0"/>
              <a:t>พระ" </a:t>
            </a:r>
            <a:r>
              <a:rPr lang="en-US" sz="800" dirty="0"/>
              <a:t>pos="" trans="pastor" </a:t>
            </a:r>
            <a:r>
              <a:rPr lang="en-US" sz="800" dirty="0" err="1"/>
              <a:t>translit</a:t>
            </a:r>
            <a:r>
              <a:rPr lang="en-US" sz="800" dirty="0"/>
              <a:t>=""/&gt;</a:t>
            </a:r>
          </a:p>
          <a:p>
            <a:r>
              <a:rPr lang="en-US" sz="800" dirty="0"/>
              <a:t>&lt;</a:t>
            </a:r>
            <a:r>
              <a:rPr lang="en-US" sz="800" dirty="0" err="1"/>
              <a:t>ana</a:t>
            </a:r>
            <a:r>
              <a:rPr lang="en-US" sz="800" dirty="0"/>
              <a:t> </a:t>
            </a:r>
            <a:r>
              <a:rPr lang="en-US" sz="800" dirty="0" err="1"/>
              <a:t>lex</a:t>
            </a:r>
            <a:r>
              <a:rPr lang="en-US" sz="800" dirty="0"/>
              <a:t>="</a:t>
            </a:r>
            <a:r>
              <a:rPr lang="th-TH" sz="800" dirty="0"/>
              <a:t>พระ" </a:t>
            </a:r>
            <a:r>
              <a:rPr lang="en-US" sz="800" dirty="0"/>
              <a:t>pos="noun" trans="leading actor" </a:t>
            </a:r>
            <a:r>
              <a:rPr lang="en-US" sz="800" dirty="0" err="1"/>
              <a:t>translit</a:t>
            </a:r>
            <a:r>
              <a:rPr lang="en-US" sz="800" dirty="0"/>
              <a:t>=""/&gt;</a:t>
            </a:r>
          </a:p>
          <a:p>
            <a:r>
              <a:rPr lang="en-US" sz="800" dirty="0"/>
              <a:t>&lt;</a:t>
            </a:r>
            <a:r>
              <a:rPr lang="en-US" sz="800" dirty="0" err="1"/>
              <a:t>ana</a:t>
            </a:r>
            <a:r>
              <a:rPr lang="en-US" sz="800" dirty="0"/>
              <a:t> </a:t>
            </a:r>
            <a:r>
              <a:rPr lang="en-US" sz="800" dirty="0" err="1"/>
              <a:t>lex</a:t>
            </a:r>
            <a:r>
              <a:rPr lang="en-US" sz="800" dirty="0"/>
              <a:t>="</a:t>
            </a:r>
            <a:r>
              <a:rPr lang="th-TH" sz="800" dirty="0"/>
              <a:t>พระ" </a:t>
            </a:r>
            <a:r>
              <a:rPr lang="en-US" sz="800" dirty="0"/>
              <a:t>pos="noun" trans="monk" </a:t>
            </a:r>
            <a:r>
              <a:rPr lang="en-US" sz="800" dirty="0" err="1"/>
              <a:t>translit</a:t>
            </a:r>
            <a:r>
              <a:rPr lang="en-US" sz="800" dirty="0"/>
              <a:t>=""/&gt;</a:t>
            </a:r>
          </a:p>
          <a:p>
            <a:r>
              <a:rPr lang="en-US" sz="800" dirty="0"/>
              <a:t>&lt;</a:t>
            </a:r>
            <a:r>
              <a:rPr lang="en-US" sz="800" dirty="0" err="1"/>
              <a:t>ana</a:t>
            </a:r>
            <a:r>
              <a:rPr lang="en-US" sz="800" dirty="0"/>
              <a:t> </a:t>
            </a:r>
            <a:r>
              <a:rPr lang="en-US" sz="800" dirty="0" err="1"/>
              <a:t>lex</a:t>
            </a:r>
            <a:r>
              <a:rPr lang="en-US" sz="800" dirty="0"/>
              <a:t>="</a:t>
            </a:r>
            <a:r>
              <a:rPr lang="th-TH" sz="800" dirty="0"/>
              <a:t>พระ" </a:t>
            </a:r>
            <a:r>
              <a:rPr lang="en-US" sz="800" dirty="0"/>
              <a:t>pos="noun" trans="Buddha image" </a:t>
            </a:r>
            <a:r>
              <a:rPr lang="en-US" sz="800" dirty="0" err="1"/>
              <a:t>translit</a:t>
            </a:r>
            <a:r>
              <a:rPr lang="en-US" sz="800" dirty="0"/>
              <a:t>=""/&gt;</a:t>
            </a:r>
          </a:p>
          <a:p>
            <a:r>
              <a:rPr lang="en-US" sz="800" dirty="0"/>
              <a:t>&lt;</a:t>
            </a:r>
            <a:r>
              <a:rPr lang="en-US" sz="800" dirty="0" err="1"/>
              <a:t>ana</a:t>
            </a:r>
            <a:r>
              <a:rPr lang="en-US" sz="800" dirty="0"/>
              <a:t> </a:t>
            </a:r>
            <a:r>
              <a:rPr lang="en-US" sz="800" dirty="0" err="1"/>
              <a:t>lex</a:t>
            </a:r>
            <a:r>
              <a:rPr lang="en-US" sz="800" dirty="0"/>
              <a:t>="</a:t>
            </a:r>
            <a:r>
              <a:rPr lang="th-TH" sz="800" dirty="0"/>
              <a:t>พระ" </a:t>
            </a:r>
            <a:r>
              <a:rPr lang="en-US" sz="800" dirty="0"/>
              <a:t>pos="" trans="holy Joe" </a:t>
            </a:r>
            <a:r>
              <a:rPr lang="en-US" sz="800" dirty="0" err="1"/>
              <a:t>translit</a:t>
            </a:r>
            <a:r>
              <a:rPr lang="en-US" sz="800" dirty="0"/>
              <a:t>=""/&gt;</a:t>
            </a:r>
          </a:p>
          <a:p>
            <a:r>
              <a:rPr lang="en-US" sz="800" dirty="0"/>
              <a:t>&lt;</a:t>
            </a:r>
            <a:r>
              <a:rPr lang="en-US" sz="800" dirty="0" err="1"/>
              <a:t>ana</a:t>
            </a:r>
            <a:r>
              <a:rPr lang="en-US" sz="800" dirty="0"/>
              <a:t> </a:t>
            </a:r>
            <a:r>
              <a:rPr lang="en-US" sz="800" dirty="0" err="1"/>
              <a:t>lex</a:t>
            </a:r>
            <a:r>
              <a:rPr lang="en-US" sz="800" dirty="0"/>
              <a:t>="</a:t>
            </a:r>
            <a:r>
              <a:rPr lang="th-TH" sz="800" dirty="0"/>
              <a:t>พระ" </a:t>
            </a:r>
            <a:r>
              <a:rPr lang="en-US" sz="800" dirty="0"/>
              <a:t>pos="" trans="presbyter" </a:t>
            </a:r>
            <a:r>
              <a:rPr lang="en-US" sz="800" dirty="0" err="1"/>
              <a:t>translit</a:t>
            </a:r>
            <a:r>
              <a:rPr lang="en-US" sz="800" dirty="0"/>
              <a:t>=""/&gt;</a:t>
            </a:r>
          </a:p>
          <a:p>
            <a:r>
              <a:rPr lang="en-US" sz="800" dirty="0"/>
              <a:t>&lt;/w&gt;</a:t>
            </a:r>
          </a:p>
          <a:p>
            <a:r>
              <a:rPr lang="en-US" sz="800" dirty="0"/>
              <a:t>&lt;w&gt;</a:t>
            </a:r>
          </a:p>
          <a:p>
            <a:r>
              <a:rPr lang="th-TH" sz="800" dirty="0"/>
              <a:t>จอม&lt;</a:t>
            </a:r>
            <a:r>
              <a:rPr lang="en-US" sz="800" dirty="0" err="1"/>
              <a:t>ana</a:t>
            </a:r>
            <a:r>
              <a:rPr lang="en-US" sz="800" dirty="0"/>
              <a:t> </a:t>
            </a:r>
            <a:r>
              <a:rPr lang="en-US" sz="800" dirty="0" err="1"/>
              <a:t>lex</a:t>
            </a:r>
            <a:r>
              <a:rPr lang="en-US" sz="800" dirty="0"/>
              <a:t>="</a:t>
            </a:r>
            <a:r>
              <a:rPr lang="th-TH" sz="800" dirty="0"/>
              <a:t>จอม" </a:t>
            </a:r>
            <a:r>
              <a:rPr lang="en-US" sz="800" dirty="0"/>
              <a:t>pos="noun" trans="top" </a:t>
            </a:r>
            <a:r>
              <a:rPr lang="en-US" sz="800" dirty="0" err="1"/>
              <a:t>translit</a:t>
            </a:r>
            <a:r>
              <a:rPr lang="en-US" sz="800" dirty="0"/>
              <a:t>=""/&gt;</a:t>
            </a:r>
          </a:p>
          <a:p>
            <a:r>
              <a:rPr lang="en-US" sz="800" dirty="0"/>
              <a:t>&lt;/w&gt;</a:t>
            </a:r>
          </a:p>
          <a:p>
            <a:r>
              <a:rPr lang="en-US" sz="800" dirty="0"/>
              <a:t>&lt;w&gt;</a:t>
            </a:r>
          </a:p>
          <a:p>
            <a:r>
              <a:rPr lang="th-TH" sz="800" dirty="0"/>
              <a:t>เกล้า&lt;</a:t>
            </a:r>
            <a:r>
              <a:rPr lang="en-US" sz="800" dirty="0" err="1"/>
              <a:t>ana</a:t>
            </a:r>
            <a:r>
              <a:rPr lang="en-US" sz="800" dirty="0"/>
              <a:t> </a:t>
            </a:r>
            <a:r>
              <a:rPr lang="en-US" sz="800" dirty="0" err="1"/>
              <a:t>lex</a:t>
            </a:r>
            <a:r>
              <a:rPr lang="en-US" sz="800" dirty="0"/>
              <a:t>="</a:t>
            </a:r>
            <a:r>
              <a:rPr lang="th-TH" sz="800" dirty="0"/>
              <a:t>เกล้า" </a:t>
            </a:r>
            <a:r>
              <a:rPr lang="en-US" sz="800" dirty="0"/>
              <a:t>pos="verb" trans="wear hair in a bun or coil" </a:t>
            </a:r>
            <a:r>
              <a:rPr lang="en-US" sz="800" dirty="0" err="1"/>
              <a:t>translit</a:t>
            </a:r>
            <a:r>
              <a:rPr lang="en-US" sz="800" dirty="0"/>
              <a:t>=""/&gt;</a:t>
            </a:r>
          </a:p>
          <a:p>
            <a:r>
              <a:rPr lang="en-US" sz="800" dirty="0"/>
              <a:t>&lt;</a:t>
            </a:r>
            <a:r>
              <a:rPr lang="en-US" sz="800" dirty="0" err="1"/>
              <a:t>ana</a:t>
            </a:r>
            <a:r>
              <a:rPr lang="en-US" sz="800" dirty="0"/>
              <a:t> </a:t>
            </a:r>
            <a:r>
              <a:rPr lang="en-US" sz="800" dirty="0" err="1"/>
              <a:t>lex</a:t>
            </a:r>
            <a:r>
              <a:rPr lang="en-US" sz="800" dirty="0"/>
              <a:t>="</a:t>
            </a:r>
            <a:r>
              <a:rPr lang="th-TH" sz="800" dirty="0"/>
              <a:t>เกล้า" </a:t>
            </a:r>
            <a:r>
              <a:rPr lang="en-US" sz="800" dirty="0"/>
              <a:t>pos="noun" trans="head" </a:t>
            </a:r>
            <a:r>
              <a:rPr lang="en-US" sz="800" dirty="0" err="1"/>
              <a:t>translit</a:t>
            </a:r>
            <a:r>
              <a:rPr lang="en-US" sz="800" dirty="0"/>
              <a:t>=""/&gt;</a:t>
            </a:r>
          </a:p>
          <a:p>
            <a:r>
              <a:rPr lang="en-US" sz="800" dirty="0"/>
              <a:t>&lt;</a:t>
            </a:r>
            <a:r>
              <a:rPr lang="en-US" sz="800" dirty="0" err="1"/>
              <a:t>ana</a:t>
            </a:r>
            <a:r>
              <a:rPr lang="en-US" sz="800" dirty="0"/>
              <a:t> </a:t>
            </a:r>
            <a:r>
              <a:rPr lang="en-US" sz="800" dirty="0" err="1"/>
              <a:t>lex</a:t>
            </a:r>
            <a:r>
              <a:rPr lang="en-US" sz="800" dirty="0"/>
              <a:t>="</a:t>
            </a:r>
            <a:r>
              <a:rPr lang="th-TH" sz="800" dirty="0"/>
              <a:t>เกล้า" </a:t>
            </a:r>
            <a:r>
              <a:rPr lang="en-US" sz="800" dirty="0"/>
              <a:t>pos="noun" trans="head; mind" </a:t>
            </a:r>
            <a:r>
              <a:rPr lang="en-US" sz="800" dirty="0" err="1"/>
              <a:t>translit</a:t>
            </a:r>
            <a:r>
              <a:rPr lang="en-US" sz="800" dirty="0"/>
              <a:t>="</a:t>
            </a:r>
            <a:r>
              <a:rPr lang="en-US" sz="800" dirty="0" err="1"/>
              <a:t>glaoF</a:t>
            </a:r>
            <a:r>
              <a:rPr lang="en-US" sz="800" dirty="0"/>
              <a:t>"/&gt;</a:t>
            </a:r>
          </a:p>
          <a:p>
            <a:r>
              <a:rPr lang="en-US" sz="800" dirty="0"/>
              <a:t>&lt;</a:t>
            </a:r>
            <a:r>
              <a:rPr lang="en-US" sz="800" dirty="0" err="1"/>
              <a:t>ana</a:t>
            </a:r>
            <a:r>
              <a:rPr lang="en-US" sz="800" dirty="0"/>
              <a:t> </a:t>
            </a:r>
            <a:r>
              <a:rPr lang="en-US" sz="800" dirty="0" err="1"/>
              <a:t>lex</a:t>
            </a:r>
            <a:r>
              <a:rPr lang="en-US" sz="800" dirty="0"/>
              <a:t>="</a:t>
            </a:r>
            <a:r>
              <a:rPr lang="th-TH" sz="800" dirty="0"/>
              <a:t>เกล้า" </a:t>
            </a:r>
            <a:r>
              <a:rPr lang="en-US" sz="800" dirty="0"/>
              <a:t>pos="verb" trans="to wear hair in a bun or coil; gather hair up; dress a tuft of hair; tie up hair in a bun" </a:t>
            </a:r>
            <a:r>
              <a:rPr lang="en-US" sz="800" dirty="0" err="1"/>
              <a:t>translit</a:t>
            </a:r>
            <a:r>
              <a:rPr lang="en-US" sz="800" dirty="0"/>
              <a:t>="</a:t>
            </a:r>
            <a:r>
              <a:rPr lang="en-US" sz="800" dirty="0" err="1"/>
              <a:t>glaoF</a:t>
            </a:r>
            <a:r>
              <a:rPr lang="en-US" sz="800" dirty="0"/>
              <a:t>"/&gt;</a:t>
            </a:r>
          </a:p>
          <a:p>
            <a:r>
              <a:rPr lang="en-US" sz="800" dirty="0"/>
              <a:t>&lt;/w&gt;</a:t>
            </a:r>
          </a:p>
          <a:p>
            <a:r>
              <a:rPr lang="en-US" sz="800" dirty="0"/>
              <a:t>&lt;w&gt;</a:t>
            </a:r>
          </a:p>
          <a:p>
            <a:r>
              <a:rPr lang="th-TH" sz="800" dirty="0"/>
              <a:t>เจ้า&lt;</a:t>
            </a:r>
            <a:r>
              <a:rPr lang="en-US" sz="800" dirty="0" err="1"/>
              <a:t>ana</a:t>
            </a:r>
            <a:r>
              <a:rPr lang="en-US" sz="800" dirty="0"/>
              <a:t> </a:t>
            </a:r>
            <a:r>
              <a:rPr lang="en-US" sz="800" dirty="0" err="1"/>
              <a:t>lex</a:t>
            </a:r>
            <a:r>
              <a:rPr lang="en-US" sz="800" dirty="0"/>
              <a:t>="</a:t>
            </a:r>
            <a:r>
              <a:rPr lang="th-TH" sz="800" dirty="0"/>
              <a:t>เจ้า" </a:t>
            </a:r>
            <a:r>
              <a:rPr lang="en-US" sz="800" dirty="0"/>
              <a:t>pos="noun" trans="royalty" </a:t>
            </a:r>
            <a:r>
              <a:rPr lang="en-US" sz="800" dirty="0" err="1"/>
              <a:t>translit</a:t>
            </a:r>
            <a:r>
              <a:rPr lang="en-US" sz="800" dirty="0"/>
              <a:t>=""/&gt;</a:t>
            </a:r>
          </a:p>
          <a:p>
            <a:r>
              <a:rPr lang="en-US" sz="800" dirty="0"/>
              <a:t>&lt;</a:t>
            </a:r>
            <a:r>
              <a:rPr lang="en-US" sz="800" dirty="0" err="1"/>
              <a:t>ana</a:t>
            </a:r>
            <a:r>
              <a:rPr lang="en-US" sz="800" dirty="0"/>
              <a:t> </a:t>
            </a:r>
            <a:r>
              <a:rPr lang="en-US" sz="800" dirty="0" err="1"/>
              <a:t>lex</a:t>
            </a:r>
            <a:r>
              <a:rPr lang="en-US" sz="800" dirty="0"/>
              <a:t>="</a:t>
            </a:r>
            <a:r>
              <a:rPr lang="th-TH" sz="800" dirty="0"/>
              <a:t>เจ้า" </a:t>
            </a:r>
            <a:r>
              <a:rPr lang="en-US" sz="800" dirty="0"/>
              <a:t>pos="noun" trans="god" </a:t>
            </a:r>
            <a:r>
              <a:rPr lang="en-US" sz="800" dirty="0" err="1"/>
              <a:t>translit</a:t>
            </a:r>
            <a:r>
              <a:rPr lang="en-US" sz="800" dirty="0"/>
              <a:t>=""/&gt;</a:t>
            </a:r>
          </a:p>
          <a:p>
            <a:r>
              <a:rPr lang="en-US" sz="800" dirty="0"/>
              <a:t>&lt;</a:t>
            </a:r>
            <a:r>
              <a:rPr lang="en-US" sz="800" dirty="0" err="1"/>
              <a:t>ana</a:t>
            </a:r>
            <a:r>
              <a:rPr lang="en-US" sz="800" dirty="0"/>
              <a:t> </a:t>
            </a:r>
            <a:r>
              <a:rPr lang="en-US" sz="800" dirty="0" err="1"/>
              <a:t>lex</a:t>
            </a:r>
            <a:r>
              <a:rPr lang="en-US" sz="800" dirty="0"/>
              <a:t>="</a:t>
            </a:r>
            <a:r>
              <a:rPr lang="th-TH" sz="800" dirty="0"/>
              <a:t>เจ้า" </a:t>
            </a:r>
            <a:r>
              <a:rPr lang="en-US" sz="800" dirty="0"/>
              <a:t>pos="pronoun" trans="you" </a:t>
            </a:r>
            <a:r>
              <a:rPr lang="en-US" sz="800" dirty="0" err="1"/>
              <a:t>translit</a:t>
            </a:r>
            <a:r>
              <a:rPr lang="en-US" sz="800" dirty="0"/>
              <a:t>=""/&gt;</a:t>
            </a:r>
          </a:p>
          <a:p>
            <a:r>
              <a:rPr lang="en-US" sz="800" dirty="0"/>
              <a:t>&lt;/w&gt;</a:t>
            </a:r>
          </a:p>
          <a:p>
            <a:r>
              <a:rPr lang="en-US" sz="800" dirty="0"/>
              <a:t>&lt;w&gt;</a:t>
            </a:r>
          </a:p>
          <a:p>
            <a:r>
              <a:rPr lang="th-TH" sz="800" dirty="0"/>
              <a:t>คุณ&lt;</a:t>
            </a:r>
            <a:r>
              <a:rPr lang="en-US" sz="800" dirty="0" err="1"/>
              <a:t>ana</a:t>
            </a:r>
            <a:r>
              <a:rPr lang="en-US" sz="800" dirty="0"/>
              <a:t> </a:t>
            </a:r>
            <a:r>
              <a:rPr lang="en-US" sz="800" dirty="0" err="1"/>
              <a:t>lex</a:t>
            </a:r>
            <a:r>
              <a:rPr lang="en-US" sz="800" dirty="0"/>
              <a:t>="</a:t>
            </a:r>
            <a:r>
              <a:rPr lang="th-TH" sz="800" dirty="0"/>
              <a:t>คุณ" </a:t>
            </a:r>
            <a:r>
              <a:rPr lang="en-US" sz="800" dirty="0"/>
              <a:t>pos="pronoun" trans="you" </a:t>
            </a:r>
            <a:r>
              <a:rPr lang="en-US" sz="800" dirty="0" err="1"/>
              <a:t>translit</a:t>
            </a:r>
            <a:r>
              <a:rPr lang="en-US" sz="800" dirty="0"/>
              <a:t>=""/&gt;</a:t>
            </a:r>
          </a:p>
          <a:p>
            <a:r>
              <a:rPr lang="en-US" sz="800" dirty="0"/>
              <a:t>&lt;</a:t>
            </a:r>
            <a:r>
              <a:rPr lang="en-US" sz="800" dirty="0" err="1"/>
              <a:t>ana</a:t>
            </a:r>
            <a:r>
              <a:rPr lang="en-US" sz="800" dirty="0"/>
              <a:t> </a:t>
            </a:r>
            <a:r>
              <a:rPr lang="en-US" sz="800" dirty="0" err="1"/>
              <a:t>lex</a:t>
            </a:r>
            <a:r>
              <a:rPr lang="en-US" sz="800" dirty="0"/>
              <a:t>="</a:t>
            </a:r>
            <a:r>
              <a:rPr lang="th-TH" sz="800" dirty="0"/>
              <a:t>คุณ" </a:t>
            </a:r>
            <a:r>
              <a:rPr lang="en-US" sz="800" dirty="0"/>
              <a:t>pos="noun" trans="Miss" </a:t>
            </a:r>
            <a:r>
              <a:rPr lang="en-US" sz="800" dirty="0" err="1"/>
              <a:t>translit</a:t>
            </a:r>
            <a:r>
              <a:rPr lang="en-US" sz="800" dirty="0"/>
              <a:t>=""/&gt;</a:t>
            </a:r>
          </a:p>
          <a:p>
            <a:r>
              <a:rPr lang="en-US" sz="800" dirty="0"/>
              <a:t>&lt;</a:t>
            </a:r>
            <a:r>
              <a:rPr lang="en-US" sz="800" dirty="0" err="1"/>
              <a:t>ana</a:t>
            </a:r>
            <a:r>
              <a:rPr lang="en-US" sz="800" dirty="0"/>
              <a:t> </a:t>
            </a:r>
            <a:r>
              <a:rPr lang="en-US" sz="800" dirty="0" err="1"/>
              <a:t>lex</a:t>
            </a:r>
            <a:r>
              <a:rPr lang="en-US" sz="800" dirty="0"/>
              <a:t>="</a:t>
            </a:r>
            <a:r>
              <a:rPr lang="th-TH" sz="800" dirty="0"/>
              <a:t>คุณ" </a:t>
            </a:r>
            <a:r>
              <a:rPr lang="en-US" sz="800" dirty="0"/>
              <a:t>pos="noun" trans="</a:t>
            </a:r>
            <a:r>
              <a:rPr lang="en-US" sz="800" dirty="0" err="1"/>
              <a:t>Khun</a:t>
            </a:r>
            <a:r>
              <a:rPr lang="en-US" sz="800" dirty="0"/>
              <a:t>" </a:t>
            </a:r>
            <a:r>
              <a:rPr lang="en-US" sz="800" dirty="0" err="1"/>
              <a:t>translit</a:t>
            </a:r>
            <a:r>
              <a:rPr lang="en-US" sz="800" dirty="0"/>
              <a:t>=""/&gt;</a:t>
            </a:r>
          </a:p>
          <a:p>
            <a:endParaRPr lang="en-US" sz="800" dirty="0"/>
          </a:p>
        </p:txBody>
      </p:sp>
    </p:spTree>
    <p:extLst>
      <p:ext uri="{BB962C8B-B14F-4D97-AF65-F5344CB8AC3E}">
        <p14:creationId xmlns:p14="http://schemas.microsoft.com/office/powerpoint/2010/main" val="410573765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4D5DCD5-C0CC-4F27-AC60-6FDEC7A31A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ord2vec similarity score</a:t>
            </a:r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57DE4278-B09F-4733-AD74-8E4640341094}"/>
              </a:ext>
            </a:extLst>
          </p:cNvPr>
          <p:cNvSpPr txBox="1">
            <a:spLocks/>
          </p:cNvSpPr>
          <p:nvPr/>
        </p:nvSpPr>
        <p:spPr>
          <a:xfrm>
            <a:off x="405565" y="2298437"/>
            <a:ext cx="3456432" cy="3314132"/>
          </a:xfrm>
          <a:prstGeom prst="rect">
            <a:avLst/>
          </a:prstGeom>
        </p:spPr>
        <p:txBody>
          <a:bodyPr/>
          <a:lstStyle>
            <a:lvl1pPr marL="228590" indent="-228590" algn="l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FFC000"/>
              </a:buClr>
              <a:buSzPct val="70000"/>
              <a:buFont typeface="Wingdings" pitchFamily="2" charset="2"/>
              <a:buChar char="§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71477" indent="-228590" algn="l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FFC000"/>
              </a:buClr>
              <a:buSzPct val="70000"/>
              <a:buFont typeface="Wingdings" pitchFamily="2" charset="2"/>
              <a:buChar char="§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914364" indent="-228590" algn="l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FFC000"/>
              </a:buClr>
              <a:buSzPct val="70000"/>
              <a:buFont typeface="Wingdings" pitchFamily="2" charset="2"/>
              <a:buChar char="§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371545" indent="-228590" algn="l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FFC000"/>
              </a:buClr>
              <a:buSzPct val="70000"/>
              <a:buFont typeface="Wingdings" pitchFamily="2" charset="2"/>
              <a:buChar char="§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2057317" indent="-228590" algn="l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FFC000"/>
              </a:buClr>
              <a:buSzPct val="70000"/>
              <a:buFont typeface="Wingdings" pitchFamily="2" charset="2"/>
              <a:buChar char="§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2514499" indent="-228590" algn="l" defTabSz="91436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81" indent="-228590" algn="l" defTabSz="91436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63" indent="-228590" algn="l" defTabSz="91436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44" indent="-228590" algn="l" defTabSz="91436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8AB2DD94-E4FC-458C-A0EF-4398FC43525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5320" y="2387454"/>
            <a:ext cx="5918559" cy="2501069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ADCCC87A-B42D-4B8E-81BF-AD03A962E59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78423" y="2637973"/>
            <a:ext cx="5723571" cy="2246207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A5992BAB-A817-4223-A3F1-5A65905D745A}"/>
              </a:ext>
            </a:extLst>
          </p:cNvPr>
          <p:cNvSpPr txBox="1"/>
          <p:nvPr/>
        </p:nvSpPr>
        <p:spPr>
          <a:xfrm>
            <a:off x="852854" y="1274885"/>
            <a:ext cx="1087065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1"/>
            <a:r>
              <a:rPr lang="en-US" dirty="0"/>
              <a:t>By putting in a single word or multiple context words. The word2vec model can identify the words that is most likely to appear.</a:t>
            </a:r>
          </a:p>
        </p:txBody>
      </p:sp>
    </p:spTree>
    <p:extLst>
      <p:ext uri="{BB962C8B-B14F-4D97-AF65-F5344CB8AC3E}">
        <p14:creationId xmlns:p14="http://schemas.microsoft.com/office/powerpoint/2010/main" val="103448469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B78F378-A915-4E04-9813-C2FE1F4880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6667" y="261605"/>
            <a:ext cx="8610599" cy="1303867"/>
          </a:xfrm>
        </p:spPr>
        <p:txBody>
          <a:bodyPr/>
          <a:lstStyle/>
          <a:p>
            <a:r>
              <a:rPr lang="en-US" dirty="0">
                <a:solidFill>
                  <a:srgbClr val="7030A0"/>
                </a:solidFill>
              </a:rPr>
              <a:t>Visualization of word embedding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DB36511-5F0C-4526-81E7-2C3BF65973C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20524" y="1565472"/>
            <a:ext cx="3456432" cy="617320"/>
          </a:xfrm>
        </p:spPr>
        <p:txBody>
          <a:bodyPr/>
          <a:lstStyle/>
          <a:p>
            <a:r>
              <a:rPr lang="en-US" sz="2000" dirty="0"/>
              <a:t>TSN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88FAF5D-55A3-420C-AA09-E0618CD7112C}"/>
              </a:ext>
            </a:extLst>
          </p:cNvPr>
          <p:cNvSpPr>
            <a:spLocks noGrp="1"/>
          </p:cNvSpPr>
          <p:nvPr>
            <p:ph type="body" sz="half" idx="15"/>
          </p:nvPr>
        </p:nvSpPr>
        <p:spPr>
          <a:xfrm>
            <a:off x="716667" y="2182792"/>
            <a:ext cx="4696429" cy="3314132"/>
          </a:xfrm>
        </p:spPr>
        <p:txBody>
          <a:bodyPr>
            <a:norm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A dimensionality reduction technique used to reduce high-dimensional embeddings for visualization in low-dimensional space (2D or 3D)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We can use this to visualize cluster of words with similar meanings.</a:t>
            </a:r>
          </a:p>
          <a:p>
            <a:endParaRPr lang="en-US" sz="1100" dirty="0"/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755A6450-E48B-4605-8767-6D4395808E0F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36364" t="15049" r="22155" b="51516"/>
          <a:stretch/>
        </p:blipFill>
        <p:spPr>
          <a:xfrm>
            <a:off x="5571389" y="767911"/>
            <a:ext cx="6331032" cy="5102875"/>
          </a:xfrm>
          <a:prstGeom prst="rect">
            <a:avLst/>
          </a:prstGeom>
        </p:spPr>
      </p:pic>
      <p:pic>
        <p:nvPicPr>
          <p:cNvPr id="16" name="Graphic 15">
            <a:extLst>
              <a:ext uri="{FF2B5EF4-FFF2-40B4-BE49-F238E27FC236}">
                <a16:creationId xmlns:a16="http://schemas.microsoft.com/office/drawing/2014/main" id="{83A509EF-6289-4C9B-802E-A1C09B35BC9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631925" y="3429000"/>
            <a:ext cx="2801073" cy="28010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70730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4D5DCD5-C0CC-4F27-AC60-6FDEC7A31A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ethodology</a:t>
            </a:r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0AAD2079-DF7E-4289-8ECD-A05E7874E988}"/>
              </a:ext>
            </a:extLst>
          </p:cNvPr>
          <p:cNvSpPr txBox="1">
            <a:spLocks/>
          </p:cNvSpPr>
          <p:nvPr/>
        </p:nvSpPr>
        <p:spPr>
          <a:xfrm>
            <a:off x="536331" y="1161951"/>
            <a:ext cx="10972800" cy="3497971"/>
          </a:xfrm>
          <a:prstGeom prst="rect">
            <a:avLst/>
          </a:prstGeom>
        </p:spPr>
        <p:txBody>
          <a:bodyPr/>
          <a:lstStyle>
            <a:lvl1pPr marL="228590" indent="-228590" algn="l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FFC000"/>
              </a:buClr>
              <a:buSzPct val="70000"/>
              <a:buFont typeface="Wingdings" pitchFamily="2" charset="2"/>
              <a:buChar char="§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71477" indent="-228590" algn="l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FFC000"/>
              </a:buClr>
              <a:buSzPct val="70000"/>
              <a:buFont typeface="Wingdings" pitchFamily="2" charset="2"/>
              <a:buChar char="§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914364" indent="-228590" algn="l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FFC000"/>
              </a:buClr>
              <a:buSzPct val="70000"/>
              <a:buFont typeface="Wingdings" pitchFamily="2" charset="2"/>
              <a:buChar char="§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371545" indent="-228590" algn="l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FFC000"/>
              </a:buClr>
              <a:buSzPct val="70000"/>
              <a:buFont typeface="Wingdings" pitchFamily="2" charset="2"/>
              <a:buChar char="§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2057317" indent="-228590" algn="l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FFC000"/>
              </a:buClr>
              <a:buSzPct val="70000"/>
              <a:buFont typeface="Wingdings" pitchFamily="2" charset="2"/>
              <a:buChar char="§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2514499" indent="-228590" algn="l" defTabSz="91436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81" indent="-228590" algn="l" defTabSz="91436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63" indent="-228590" algn="l" defTabSz="91436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44" indent="-228590" algn="l" defTabSz="91436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dirty="0"/>
              <a:t>Analyzing comments</a:t>
            </a:r>
          </a:p>
          <a:p>
            <a:pPr lvl="1"/>
            <a:r>
              <a:rPr lang="en-US" sz="1800" dirty="0"/>
              <a:t>We define a bag of words bow1= {'</a:t>
            </a:r>
            <a:r>
              <a:rPr lang="th-TH" sz="1800" dirty="0"/>
              <a:t>เงิน','ยืม','กู้','</a:t>
            </a:r>
            <a:r>
              <a:rPr lang="th-TH" sz="1800" dirty="0" err="1"/>
              <a:t>แบงค์</a:t>
            </a:r>
            <a:r>
              <a:rPr lang="th-TH" sz="1800" dirty="0"/>
              <a:t>','ฝาก','ผ่อน','ถอน’}</a:t>
            </a:r>
            <a:r>
              <a:rPr lang="en-US" sz="1800" dirty="0"/>
              <a:t>, bow2 = {'</a:t>
            </a:r>
            <a:r>
              <a:rPr lang="th-TH" sz="1800" dirty="0"/>
              <a:t>หุ้น','กองทุน','ดอกเบี้ย','ลงทุน','พันธบัตร’}</a:t>
            </a:r>
            <a:r>
              <a:rPr lang="en-US" sz="1800" dirty="0"/>
              <a:t>. </a:t>
            </a:r>
          </a:p>
          <a:p>
            <a:pPr lvl="1"/>
            <a:r>
              <a:rPr lang="en-US" sz="1800" dirty="0"/>
              <a:t>For each word, we get the top 10 most similar words and their score (the score is between 0 and 1). </a:t>
            </a:r>
          </a:p>
          <a:p>
            <a:pPr lvl="1"/>
            <a:r>
              <a:rPr lang="en-US" sz="1800" dirty="0"/>
              <a:t>We tokenize each comment and get the score of each word then sum up the score. The score quantifies how much the customer is interested in topic 1. </a:t>
            </a:r>
          </a:p>
          <a:p>
            <a:pPr lvl="1"/>
            <a:r>
              <a:rPr lang="en-US" sz="1800" dirty="0"/>
              <a:t>We can generalize this and create as many bag of words with as many keywords as we would like. </a:t>
            </a:r>
            <a:endParaRPr lang="en-US" sz="1800" dirty="0">
              <a:cs typeface="+mn-cs"/>
            </a:endParaRPr>
          </a:p>
          <a:p>
            <a:pPr lvl="1"/>
            <a:endParaRPr lang="en-US" sz="1800" dirty="0">
              <a:cs typeface="+mn-cs"/>
            </a:endParaRPr>
          </a:p>
          <a:p>
            <a:pPr marL="0" indent="0">
              <a:buNone/>
            </a:pPr>
            <a:endParaRPr lang="en-US" sz="1800" dirty="0">
              <a:cs typeface="+mn-cs"/>
            </a:endParaRPr>
          </a:p>
          <a:p>
            <a:endParaRPr lang="en-US" sz="1800" dirty="0">
              <a:cs typeface="+mn-cs"/>
            </a:endParaRPr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57DE4278-B09F-4733-AD74-8E4640341094}"/>
              </a:ext>
            </a:extLst>
          </p:cNvPr>
          <p:cNvSpPr txBox="1">
            <a:spLocks/>
          </p:cNvSpPr>
          <p:nvPr/>
        </p:nvSpPr>
        <p:spPr>
          <a:xfrm>
            <a:off x="405565" y="2298437"/>
            <a:ext cx="3456432" cy="3314132"/>
          </a:xfrm>
          <a:prstGeom prst="rect">
            <a:avLst/>
          </a:prstGeom>
        </p:spPr>
        <p:txBody>
          <a:bodyPr/>
          <a:lstStyle>
            <a:lvl1pPr marL="228590" indent="-228590" algn="l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FFC000"/>
              </a:buClr>
              <a:buSzPct val="70000"/>
              <a:buFont typeface="Wingdings" pitchFamily="2" charset="2"/>
              <a:buChar char="§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71477" indent="-228590" algn="l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FFC000"/>
              </a:buClr>
              <a:buSzPct val="70000"/>
              <a:buFont typeface="Wingdings" pitchFamily="2" charset="2"/>
              <a:buChar char="§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914364" indent="-228590" algn="l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FFC000"/>
              </a:buClr>
              <a:buSzPct val="70000"/>
              <a:buFont typeface="Wingdings" pitchFamily="2" charset="2"/>
              <a:buChar char="§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371545" indent="-228590" algn="l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FFC000"/>
              </a:buClr>
              <a:buSzPct val="70000"/>
              <a:buFont typeface="Wingdings" pitchFamily="2" charset="2"/>
              <a:buChar char="§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2057317" indent="-228590" algn="l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FFC000"/>
              </a:buClr>
              <a:buSzPct val="70000"/>
              <a:buFont typeface="Wingdings" pitchFamily="2" charset="2"/>
              <a:buChar char="§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2514499" indent="-228590" algn="l" defTabSz="91436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81" indent="-228590" algn="l" defTabSz="91436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63" indent="-228590" algn="l" defTabSz="91436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44" indent="-228590" algn="l" defTabSz="91436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2FFA47C-62FD-49EF-B6F4-B18D6D14F5C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97524" y="3773479"/>
            <a:ext cx="10884876" cy="17728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009244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F42AD5E-222A-4092-8510-7AD2BA2783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5800" y="949569"/>
            <a:ext cx="6873240" cy="1075592"/>
          </a:xfrm>
        </p:spPr>
        <p:txBody>
          <a:bodyPr/>
          <a:lstStyle/>
          <a:p>
            <a:r>
              <a:rPr lang="en-US" dirty="0">
                <a:solidFill>
                  <a:srgbClr val="7030A0"/>
                </a:solidFill>
              </a:rPr>
              <a:t>Implementation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594313C-9E71-47E1-A35C-542168DEF2A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85800" y="2382716"/>
            <a:ext cx="6873240" cy="3352392"/>
          </a:xfrm>
        </p:spPr>
        <p:txBody>
          <a:bodyPr>
            <a:normAutofit fontScale="92500" lnSpcReduction="20000"/>
          </a:bodyPr>
          <a:lstStyle/>
          <a:p>
            <a:r>
              <a:rPr lang="en-US" b="1" dirty="0"/>
              <a:t>Facebook API: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Due to privacy concerns, Facebook does not allow users to use their API to pull comments of other users, even on public page.</a:t>
            </a:r>
          </a:p>
          <a:p>
            <a:r>
              <a:rPr lang="en-US" b="1" dirty="0"/>
              <a:t>Twitter API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Can use their API to query tweets ~1000 tweets per 15 minutes using free account. Example query: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‘@</a:t>
            </a:r>
            <a:r>
              <a:rPr lang="en-US" dirty="0" err="1"/>
              <a:t>SCB_Thailand</a:t>
            </a:r>
            <a:r>
              <a:rPr lang="en-US" dirty="0"/>
              <a:t> OR #SCB’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‘(@</a:t>
            </a:r>
            <a:r>
              <a:rPr lang="en-US" dirty="0" err="1"/>
              <a:t>SCB_Thailand</a:t>
            </a:r>
            <a:r>
              <a:rPr lang="en-US" dirty="0"/>
              <a:t> AND #SCB) </a:t>
            </a:r>
            <a:r>
              <a:rPr lang="en-US" dirty="0" err="1"/>
              <a:t>lang</a:t>
            </a:r>
            <a:r>
              <a:rPr lang="en-US" dirty="0"/>
              <a:t>=</a:t>
            </a:r>
            <a:r>
              <a:rPr lang="en-US" dirty="0" err="1"/>
              <a:t>th</a:t>
            </a:r>
            <a:r>
              <a:rPr lang="en-US" dirty="0"/>
              <a:t>’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Returns A LOT of information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Date tweeted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Name of person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 err="1"/>
              <a:t>GeoID</a:t>
            </a: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500" dirty="0" err="1"/>
              <a:t>Tweepy</a:t>
            </a:r>
            <a:r>
              <a:rPr lang="en-US" sz="1500" dirty="0"/>
              <a:t> is a python library that makes it easy to use the Twitter API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F61322BB-CC5E-42B3-A594-6048C793C07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315200" y="1087316"/>
            <a:ext cx="4876800" cy="4876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192087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030543A-B8F0-4A77-B033-46D9CC88F3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3754" y="3124200"/>
            <a:ext cx="10972800" cy="609600"/>
          </a:xfrm>
        </p:spPr>
        <p:txBody>
          <a:bodyPr/>
          <a:lstStyle/>
          <a:p>
            <a:r>
              <a:rPr lang="en-US" dirty="0" err="1"/>
              <a:t>KBank</a:t>
            </a:r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62F554E-A2BE-4EF9-A9F7-30882D4B24B5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3112"/>
          <a:stretch/>
        </p:blipFill>
        <p:spPr>
          <a:xfrm>
            <a:off x="1459338" y="3516992"/>
            <a:ext cx="9273321" cy="2739834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CA8603FD-BE0D-40BE-B320-C5E2813DD544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2735"/>
          <a:stretch/>
        </p:blipFill>
        <p:spPr>
          <a:xfrm>
            <a:off x="1459338" y="246184"/>
            <a:ext cx="9273321" cy="2795873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9DBB4D6E-E263-48D2-BBC4-21A75918B68D}"/>
              </a:ext>
            </a:extLst>
          </p:cNvPr>
          <p:cNvSpPr txBox="1">
            <a:spLocks/>
          </p:cNvSpPr>
          <p:nvPr/>
        </p:nvSpPr>
        <p:spPr bwMode="auto">
          <a:xfrm>
            <a:off x="433754" y="-8426"/>
            <a:ext cx="10972800" cy="609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kumimoji="0" lang="en-US" altLang="zh-CN" sz="2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4E297F"/>
                </a:solidFill>
                <a:effectLst/>
                <a:uLnTx/>
                <a:uFillTx/>
                <a:latin typeface="+mj-lt"/>
                <a:ea typeface="ＭＳ Ｐゴシック"/>
                <a:cs typeface="Arial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457182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914364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371545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1828727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en-US" dirty="0"/>
              <a:t>SCB</a:t>
            </a:r>
          </a:p>
        </p:txBody>
      </p:sp>
    </p:spTree>
    <p:extLst>
      <p:ext uri="{BB962C8B-B14F-4D97-AF65-F5344CB8AC3E}">
        <p14:creationId xmlns:p14="http://schemas.microsoft.com/office/powerpoint/2010/main" val="256850531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6AF281B-284C-4EDE-9C1F-BDB1F8B081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bability distribution of score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AAE8BEC-345D-49B6-8F02-1D71C691DB1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78866" y="3750197"/>
            <a:ext cx="3743732" cy="2495821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BD614319-1349-4C90-B23D-AF7AEA4BE8E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78866" y="1086197"/>
            <a:ext cx="3743732" cy="2495821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5243D5E6-C7E9-456A-A6F5-482343EE558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669403" y="1086197"/>
            <a:ext cx="3743732" cy="2495821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D58D07D4-E27E-4DB2-A51E-D55DA5C44F8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669403" y="3750198"/>
            <a:ext cx="3743732" cy="2495821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AF7E7728-F911-4828-9DCE-9529668E49FA}"/>
              </a:ext>
            </a:extLst>
          </p:cNvPr>
          <p:cNvSpPr txBox="1"/>
          <p:nvPr/>
        </p:nvSpPr>
        <p:spPr>
          <a:xfrm>
            <a:off x="822960" y="3481442"/>
            <a:ext cx="13208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err="1"/>
              <a:t>KBank</a:t>
            </a:r>
            <a:endParaRPr lang="en-US" b="1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F1BB6910-66BF-48AA-BDC6-469764F7F423}"/>
              </a:ext>
            </a:extLst>
          </p:cNvPr>
          <p:cNvSpPr txBox="1"/>
          <p:nvPr/>
        </p:nvSpPr>
        <p:spPr>
          <a:xfrm>
            <a:off x="6009003" y="3565531"/>
            <a:ext cx="13208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SCB</a:t>
            </a:r>
          </a:p>
        </p:txBody>
      </p:sp>
    </p:spTree>
    <p:extLst>
      <p:ext uri="{BB962C8B-B14F-4D97-AF65-F5344CB8AC3E}">
        <p14:creationId xmlns:p14="http://schemas.microsoft.com/office/powerpoint/2010/main" val="292644803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CD94029-B535-4A35-8585-EDFC428724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mplications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CF73CD4-FCF6-43DB-84D1-3F8AC8CECBB6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9394" r="11215"/>
          <a:stretch/>
        </p:blipFill>
        <p:spPr>
          <a:xfrm>
            <a:off x="1230924" y="2180163"/>
            <a:ext cx="4211516" cy="2497673"/>
          </a:xfrm>
          <a:prstGeom prst="rect">
            <a:avLst/>
          </a:prstGeom>
        </p:spPr>
      </p:pic>
      <p:pic>
        <p:nvPicPr>
          <p:cNvPr id="4" name="Picture 2" descr="https://cdn-images-1.medium.com/max/1024/1*e8v1xC0NTgoduh_ei9F7Pw.png">
            <a:extLst>
              <a:ext uri="{FF2B5EF4-FFF2-40B4-BE49-F238E27FC236}">
                <a16:creationId xmlns:a16="http://schemas.microsoft.com/office/drawing/2014/main" id="{A2FBEC28-3833-4CE8-B5C2-0AC310EC4FE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74426" y="2180163"/>
            <a:ext cx="4463556" cy="24976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6684755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F0927C5F-C99C-4973-8D8A-219634D44A3A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465260" y="4686304"/>
            <a:ext cx="11242428" cy="1336650"/>
          </a:xfrm>
        </p:spPr>
        <p:txBody>
          <a:bodyPr/>
          <a:lstStyle/>
          <a:p>
            <a:r>
              <a:rPr lang="en-US" sz="1600" dirty="0"/>
              <a:t>To use neural network to predict future an asset that the bank is interested in. </a:t>
            </a:r>
          </a:p>
          <a:p>
            <a:r>
              <a:rPr lang="en-US" sz="1600" dirty="0"/>
              <a:t>Learn about RNNs and LSTM theoretically as well as how they are implemented in Python</a:t>
            </a:r>
          </a:p>
          <a:p>
            <a:r>
              <a:rPr lang="en-US" sz="1600" dirty="0"/>
              <a:t>Identify the pros and cons of neural nets against more traditional timeseries method such as ARIMA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7F127F17-6A75-4517-BF6B-388A4C07F4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ackground</a:t>
            </a:r>
          </a:p>
        </p:txBody>
      </p:sp>
      <p:sp>
        <p:nvSpPr>
          <p:cNvPr id="11" name="Title 2">
            <a:extLst>
              <a:ext uri="{FF2B5EF4-FFF2-40B4-BE49-F238E27FC236}">
                <a16:creationId xmlns:a16="http://schemas.microsoft.com/office/drawing/2014/main" id="{F5CCC393-09DD-4A87-B99A-4830D4447A98}"/>
              </a:ext>
            </a:extLst>
          </p:cNvPr>
          <p:cNvSpPr txBox="1">
            <a:spLocks/>
          </p:cNvSpPr>
          <p:nvPr/>
        </p:nvSpPr>
        <p:spPr>
          <a:xfrm>
            <a:off x="477343" y="3575682"/>
            <a:ext cx="11237314" cy="571281"/>
          </a:xfrm>
          <a:prstGeom prst="rect">
            <a:avLst/>
          </a:prstGeom>
        </p:spPr>
        <p:txBody>
          <a:bodyPr vert="horz" lIns="0" tIns="64427" rIns="0" bIns="0" rtlCol="0" anchor="b" anchorCtr="0">
            <a:noAutofit/>
          </a:bodyPr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AU" sz="1891" b="1" kern="1200" spc="0" baseline="0">
                <a:solidFill>
                  <a:srgbClr val="4F2A81"/>
                </a:solidFill>
                <a:latin typeface="+mj-lt"/>
                <a:ea typeface="Arial" pitchFamily="-105" charset="-52"/>
                <a:cs typeface="Arial" pitchFamily="34" charset="0"/>
              </a:defRPr>
            </a:lvl1pPr>
            <a:lvl2pPr algn="l" rtl="0" eaLnBrk="1" fontAlgn="base" hangingPunct="1">
              <a:lnSpc>
                <a:spcPts val="3465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sz="3215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2pPr>
            <a:lvl3pPr algn="l" rtl="0" eaLnBrk="1" fontAlgn="base" hangingPunct="1">
              <a:lnSpc>
                <a:spcPts val="3465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sz="3215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3pPr>
            <a:lvl4pPr algn="l" rtl="0" eaLnBrk="1" fontAlgn="base" hangingPunct="1">
              <a:lnSpc>
                <a:spcPts val="3465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sz="3215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4pPr>
            <a:lvl5pPr algn="l" rtl="0" eaLnBrk="1" fontAlgn="base" hangingPunct="1">
              <a:lnSpc>
                <a:spcPts val="3465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sz="3215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5pPr>
            <a:lvl6pPr marL="609292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3405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6pPr>
            <a:lvl7pPr marL="1218585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3405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7pPr>
            <a:lvl8pPr marL="1827878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3405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8pPr>
            <a:lvl9pPr marL="2437170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3405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9pPr>
          </a:lstStyle>
          <a:p>
            <a:r>
              <a:rPr lang="en-US"/>
              <a:t>Objective</a:t>
            </a:r>
            <a:endParaRPr lang="en-US" dirty="0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BDA00AF9-6E37-4181-8982-E207F6116AD3}"/>
              </a:ext>
            </a:extLst>
          </p:cNvPr>
          <p:cNvCxnSpPr/>
          <p:nvPr/>
        </p:nvCxnSpPr>
        <p:spPr>
          <a:xfrm>
            <a:off x="368904" y="4234883"/>
            <a:ext cx="11831888" cy="0"/>
          </a:xfrm>
          <a:prstGeom prst="line">
            <a:avLst/>
          </a:prstGeom>
          <a:ln w="3175" cmpd="sng">
            <a:solidFill>
              <a:schemeClr val="tx1">
                <a:lumMod val="65000"/>
                <a:lumOff val="35000"/>
              </a:schemeClr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id="{188EA6DB-8BA5-4C05-9023-999558FBE7A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703301368"/>
              </p:ext>
            </p:extLst>
          </p:nvPr>
        </p:nvGraphicFramePr>
        <p:xfrm>
          <a:off x="3177540" y="814334"/>
          <a:ext cx="5836920" cy="30469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136280174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F0927C5F-C99C-4973-8D8A-219634D44A3A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474786" y="942043"/>
            <a:ext cx="8372862" cy="2486957"/>
          </a:xfrm>
        </p:spPr>
        <p:txBody>
          <a:bodyPr/>
          <a:lstStyle/>
          <a:p>
            <a:pPr marL="285750" indent="-285750"/>
            <a:r>
              <a:rPr lang="en-US" sz="1800" dirty="0"/>
              <a:t>For timeseries forecasting, RNN is superior to dense neural nets as they have a method for ‘memorizing’ information across time. </a:t>
            </a:r>
          </a:p>
          <a:p>
            <a:pPr marL="285750" indent="-285750"/>
            <a:r>
              <a:rPr lang="en-US" sz="1800" dirty="0"/>
              <a:t>Because of the structure of RNN, it doesn’t do well remembering information across many cells. As each cell only passes on its output. </a:t>
            </a:r>
          </a:p>
          <a:p>
            <a:pPr marL="285750" indent="-285750"/>
            <a:r>
              <a:rPr lang="en-US" sz="1800" dirty="0"/>
              <a:t>LSTMs are better than simple RNN since they pass on memory (a value that is only modified a little every time it passes through, and the output). 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7F127F17-6A75-4517-BF6B-388A4C07F4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eural network for timeseries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0098EBD-8678-4C06-A2CC-E789DA5FF20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34218" y="3631222"/>
            <a:ext cx="4566430" cy="1715735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032EED22-B372-4B65-846E-3F2188F003B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70778" y="3631222"/>
            <a:ext cx="4584836" cy="1715735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F2D1A437-3638-4800-AE48-8DEC072C4727}"/>
              </a:ext>
            </a:extLst>
          </p:cNvPr>
          <p:cNvSpPr txBox="1"/>
          <p:nvPr/>
        </p:nvSpPr>
        <p:spPr>
          <a:xfrm>
            <a:off x="819496" y="5671038"/>
            <a:ext cx="488739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Simple RNN structur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B1CD13B-BB2A-4BF6-86E3-23EBA07DC8CC}"/>
              </a:ext>
            </a:extLst>
          </p:cNvPr>
          <p:cNvSpPr txBox="1"/>
          <p:nvPr/>
        </p:nvSpPr>
        <p:spPr>
          <a:xfrm>
            <a:off x="6473733" y="5486372"/>
            <a:ext cx="488739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LSTM structure</a:t>
            </a:r>
          </a:p>
        </p:txBody>
      </p:sp>
      <p:pic>
        <p:nvPicPr>
          <p:cNvPr id="16386" name="Picture 2" descr="http://colah.github.io/posts/2015-08-Understanding-LSTMs/img/LSTM3-C-line.png">
            <a:extLst>
              <a:ext uri="{FF2B5EF4-FFF2-40B4-BE49-F238E27FC236}">
                <a16:creationId xmlns:a16="http://schemas.microsoft.com/office/drawing/2014/main" id="{3B86F139-7CF5-494B-AFC5-7F89960852B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95360" y="1721139"/>
            <a:ext cx="3596640" cy="11108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3FFAFB4E-C81F-420D-8DA8-7BBCEB97E50F}"/>
              </a:ext>
            </a:extLst>
          </p:cNvPr>
          <p:cNvSpPr/>
          <p:nvPr/>
        </p:nvSpPr>
        <p:spPr bwMode="gray">
          <a:xfrm>
            <a:off x="9155527" y="1608240"/>
            <a:ext cx="2294448" cy="1459077"/>
          </a:xfrm>
          <a:prstGeom prst="rect">
            <a:avLst/>
          </a:prstGeom>
          <a:noFill/>
          <a:ln w="22225" algn="ctr">
            <a:solidFill>
              <a:srgbClr val="FF0000"/>
            </a:solidFill>
            <a:miter lim="800000"/>
            <a:headEnd/>
            <a:tailEnd/>
          </a:ln>
        </p:spPr>
        <p:txBody>
          <a:bodyPr tIns="91440" bIns="91440" rtlCol="0" anchor="ctr"/>
          <a:lstStyle/>
          <a:p>
            <a:pPr algn="ctr">
              <a:buClr>
                <a:schemeClr val="tx2"/>
              </a:buClr>
            </a:pPr>
            <a:endParaRPr lang="en-US" sz="1400" dirty="0" err="1">
              <a:latin typeface="Calibri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0FF20A0-FA60-49CD-9088-A4FBEF5ECB66}"/>
              </a:ext>
            </a:extLst>
          </p:cNvPr>
          <p:cNvSpPr txBox="1"/>
          <p:nvPr/>
        </p:nvSpPr>
        <p:spPr>
          <a:xfrm>
            <a:off x="9086947" y="1166918"/>
            <a:ext cx="2431608" cy="371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u="sng" dirty="0"/>
              <a:t>LSTM Memory</a:t>
            </a:r>
          </a:p>
        </p:txBody>
      </p:sp>
    </p:spTree>
    <p:extLst>
      <p:ext uri="{BB962C8B-B14F-4D97-AF65-F5344CB8AC3E}">
        <p14:creationId xmlns:p14="http://schemas.microsoft.com/office/powerpoint/2010/main" val="386260758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E31A427-2140-4180-9216-75C3D7DA2B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tx2"/>
                </a:solidFill>
              </a:rPr>
              <a:t>Model Structure and Parameters</a:t>
            </a:r>
            <a:endParaRPr lang="en-US" dirty="0"/>
          </a:p>
        </p:txBody>
      </p:sp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44723CE5-A56A-4978-B2B9-E8B502523F0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0437484"/>
              </p:ext>
            </p:extLst>
          </p:nvPr>
        </p:nvGraphicFramePr>
        <p:xfrm>
          <a:off x="568860" y="2175770"/>
          <a:ext cx="6630134" cy="250645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239266">
                  <a:extLst>
                    <a:ext uri="{9D8B030D-6E8A-4147-A177-3AD203B41FA5}">
                      <a16:colId xmlns:a16="http://schemas.microsoft.com/office/drawing/2014/main" val="1670162692"/>
                    </a:ext>
                  </a:extLst>
                </a:gridCol>
                <a:gridCol w="3390868">
                  <a:extLst>
                    <a:ext uri="{9D8B030D-6E8A-4147-A177-3AD203B41FA5}">
                      <a16:colId xmlns:a16="http://schemas.microsoft.com/office/drawing/2014/main" val="3077580034"/>
                    </a:ext>
                  </a:extLst>
                </a:gridCol>
              </a:tblGrid>
              <a:tr h="371601">
                <a:tc>
                  <a:txBody>
                    <a:bodyPr/>
                    <a:lstStyle/>
                    <a:p>
                      <a:r>
                        <a:rPr lang="en-US" sz="1600" dirty="0"/>
                        <a:t>Input</a:t>
                      </a: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Output</a:t>
                      </a:r>
                    </a:p>
                  </a:txBody>
                  <a:tcP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7902832"/>
                  </a:ext>
                </a:extLst>
              </a:tr>
              <a:tr h="480848"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US" sz="1400" dirty="0"/>
                        <a:t>Use target historical data as input</a:t>
                      </a:r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/>
                        <a:t>Predict </a:t>
                      </a:r>
                      <a:r>
                        <a:rPr lang="en-US" sz="1400" b="1" dirty="0"/>
                        <a:t>one day/up down </a:t>
                      </a:r>
                      <a:r>
                        <a:rPr lang="en-US" sz="1400" dirty="0"/>
                        <a:t>into the future</a:t>
                      </a:r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7608283"/>
                  </a:ext>
                </a:extLst>
              </a:tr>
              <a:tr h="345004"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US" sz="1400" dirty="0"/>
                        <a:t>Use target historical data as input</a:t>
                      </a:r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/>
                        <a:t>Predict </a:t>
                      </a:r>
                      <a:r>
                        <a:rPr lang="en-US" sz="1400" b="1" dirty="0"/>
                        <a:t>multiple days </a:t>
                      </a:r>
                      <a:r>
                        <a:rPr lang="en-US" sz="1400" dirty="0"/>
                        <a:t>into the future</a:t>
                      </a:r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76068795"/>
                  </a:ext>
                </a:extLst>
              </a:tr>
              <a:tr h="654503">
                <a:tc>
                  <a:txBody>
                    <a:bodyPr/>
                    <a:lstStyle/>
                    <a:p>
                      <a:r>
                        <a:rPr lang="en-US" sz="1400" dirty="0"/>
                        <a:t>Use target historical data and other correlated data as input</a:t>
                      </a:r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/>
                        <a:t>Predict </a:t>
                      </a:r>
                      <a:r>
                        <a:rPr lang="en-US" sz="1400" b="1" dirty="0"/>
                        <a:t>one day/up down </a:t>
                      </a:r>
                      <a:r>
                        <a:rPr lang="en-US" sz="1400" dirty="0"/>
                        <a:t>into the future</a:t>
                      </a:r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0938531"/>
                  </a:ext>
                </a:extLst>
              </a:tr>
              <a:tr h="654503">
                <a:tc>
                  <a:txBody>
                    <a:bodyPr/>
                    <a:lstStyle/>
                    <a:p>
                      <a:r>
                        <a:rPr lang="en-US" sz="1400" dirty="0"/>
                        <a:t>Use target historical data and other correlated data as input</a:t>
                      </a:r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/>
                        <a:t>Predict </a:t>
                      </a:r>
                      <a:r>
                        <a:rPr lang="en-US" sz="1400" b="1" dirty="0"/>
                        <a:t>multiple days </a:t>
                      </a:r>
                      <a:r>
                        <a:rPr lang="en-US" sz="1400" dirty="0"/>
                        <a:t>into the future</a:t>
                      </a:r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15405264"/>
                  </a:ext>
                </a:extLst>
              </a:tr>
            </a:tbl>
          </a:graphicData>
        </a:graphic>
      </p:graphicFrame>
      <p:sp>
        <p:nvSpPr>
          <p:cNvPr id="9" name="TextBox 8">
            <a:extLst>
              <a:ext uri="{FF2B5EF4-FFF2-40B4-BE49-F238E27FC236}">
                <a16:creationId xmlns:a16="http://schemas.microsoft.com/office/drawing/2014/main" id="{6AB7AD95-BBC2-4DE1-B712-0950A1568C3A}"/>
              </a:ext>
            </a:extLst>
          </p:cNvPr>
          <p:cNvSpPr txBox="1"/>
          <p:nvPr/>
        </p:nvSpPr>
        <p:spPr>
          <a:xfrm>
            <a:off x="7583588" y="1628479"/>
            <a:ext cx="4049588" cy="38779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b="1" dirty="0"/>
              <a:t>Hyperparamete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400" dirty="0"/>
              <a:t>n_neurons = 100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400" dirty="0"/>
              <a:t>dropout = 0.2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400" dirty="0"/>
              <a:t>n_lag = 15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400" dirty="0"/>
              <a:t>n_seq = 3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400" dirty="0"/>
              <a:t>num_layers = 1</a:t>
            </a:r>
          </a:p>
          <a:p>
            <a:endParaRPr lang="pt-BR" sz="1400" b="1" dirty="0"/>
          </a:p>
          <a:p>
            <a:r>
              <a:rPr lang="pt-BR" b="1" dirty="0"/>
              <a:t>Other factors to consider</a:t>
            </a:r>
            <a:r>
              <a:rPr lang="pt-BR" dirty="0"/>
              <a:t>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400" dirty="0"/>
              <a:t>Loss function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pt-BR" sz="1400" dirty="0"/>
              <a:t>Binary crossentropy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pt-BR" sz="1400" dirty="0"/>
              <a:t>Mean absolute percentage error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pt-BR" sz="1400" dirty="0"/>
              <a:t>Mean squared erro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400" dirty="0"/>
              <a:t>Activation function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pt-BR" sz="1400" dirty="0"/>
              <a:t>Sigmoid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pt-BR" sz="1400" dirty="0"/>
              <a:t>Linear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pt-BR" sz="1400" dirty="0"/>
          </a:p>
          <a:p>
            <a:endParaRPr lang="pt-BR" sz="1400" dirty="0"/>
          </a:p>
        </p:txBody>
      </p:sp>
    </p:spTree>
    <p:extLst>
      <p:ext uri="{BB962C8B-B14F-4D97-AF65-F5344CB8AC3E}">
        <p14:creationId xmlns:p14="http://schemas.microsoft.com/office/powerpoint/2010/main" val="186383095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C059C9BF-826B-49B0-9A45-E2C2E90861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ta Processing for model</a:t>
            </a: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22CA83EA-5E97-470F-B4B5-F0A610D4095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40229264"/>
              </p:ext>
            </p:extLst>
          </p:nvPr>
        </p:nvGraphicFramePr>
        <p:xfrm>
          <a:off x="1877885" y="3188285"/>
          <a:ext cx="8436230" cy="1233270"/>
        </p:xfrm>
        <a:graphic>
          <a:graphicData uri="http://schemas.openxmlformats.org/drawingml/2006/table">
            <a:tbl>
              <a:tblPr/>
              <a:tblGrid>
                <a:gridCol w="843623">
                  <a:extLst>
                    <a:ext uri="{9D8B030D-6E8A-4147-A177-3AD203B41FA5}">
                      <a16:colId xmlns:a16="http://schemas.microsoft.com/office/drawing/2014/main" val="2284450939"/>
                    </a:ext>
                  </a:extLst>
                </a:gridCol>
                <a:gridCol w="843623">
                  <a:extLst>
                    <a:ext uri="{9D8B030D-6E8A-4147-A177-3AD203B41FA5}">
                      <a16:colId xmlns:a16="http://schemas.microsoft.com/office/drawing/2014/main" val="388013843"/>
                    </a:ext>
                  </a:extLst>
                </a:gridCol>
                <a:gridCol w="843623">
                  <a:extLst>
                    <a:ext uri="{9D8B030D-6E8A-4147-A177-3AD203B41FA5}">
                      <a16:colId xmlns:a16="http://schemas.microsoft.com/office/drawing/2014/main" val="1514335716"/>
                    </a:ext>
                  </a:extLst>
                </a:gridCol>
                <a:gridCol w="843623">
                  <a:extLst>
                    <a:ext uri="{9D8B030D-6E8A-4147-A177-3AD203B41FA5}">
                      <a16:colId xmlns:a16="http://schemas.microsoft.com/office/drawing/2014/main" val="1784491635"/>
                    </a:ext>
                  </a:extLst>
                </a:gridCol>
                <a:gridCol w="843623">
                  <a:extLst>
                    <a:ext uri="{9D8B030D-6E8A-4147-A177-3AD203B41FA5}">
                      <a16:colId xmlns:a16="http://schemas.microsoft.com/office/drawing/2014/main" val="2652260634"/>
                    </a:ext>
                  </a:extLst>
                </a:gridCol>
                <a:gridCol w="843623">
                  <a:extLst>
                    <a:ext uri="{9D8B030D-6E8A-4147-A177-3AD203B41FA5}">
                      <a16:colId xmlns:a16="http://schemas.microsoft.com/office/drawing/2014/main" val="2690932852"/>
                    </a:ext>
                  </a:extLst>
                </a:gridCol>
                <a:gridCol w="843623">
                  <a:extLst>
                    <a:ext uri="{9D8B030D-6E8A-4147-A177-3AD203B41FA5}">
                      <a16:colId xmlns:a16="http://schemas.microsoft.com/office/drawing/2014/main" val="3020028370"/>
                    </a:ext>
                  </a:extLst>
                </a:gridCol>
                <a:gridCol w="843623">
                  <a:extLst>
                    <a:ext uri="{9D8B030D-6E8A-4147-A177-3AD203B41FA5}">
                      <a16:colId xmlns:a16="http://schemas.microsoft.com/office/drawing/2014/main" val="4196886479"/>
                    </a:ext>
                  </a:extLst>
                </a:gridCol>
                <a:gridCol w="843623">
                  <a:extLst>
                    <a:ext uri="{9D8B030D-6E8A-4147-A177-3AD203B41FA5}">
                      <a16:colId xmlns:a16="http://schemas.microsoft.com/office/drawing/2014/main" val="3634796088"/>
                    </a:ext>
                  </a:extLst>
                </a:gridCol>
                <a:gridCol w="843623">
                  <a:extLst>
                    <a:ext uri="{9D8B030D-6E8A-4147-A177-3AD203B41FA5}">
                      <a16:colId xmlns:a16="http://schemas.microsoft.com/office/drawing/2014/main" val="940711766"/>
                    </a:ext>
                  </a:extLst>
                </a:gridCol>
              </a:tblGrid>
              <a:tr h="205545">
                <a:tc gridSpan="10"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Timeseries Variable 1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ourier New" panose="02070309020205020404" pitchFamily="49" charset="0"/>
                        <a:cs typeface="Courier New" panose="02070309020205020404" pitchFamily="49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ourier New" panose="02070309020205020404" pitchFamily="49" charset="0"/>
                        <a:cs typeface="Courier New" panose="02070309020205020404" pitchFamily="49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ourier New" panose="02070309020205020404" pitchFamily="49" charset="0"/>
                        <a:cs typeface="Courier New" panose="02070309020205020404" pitchFamily="49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ourier New" panose="02070309020205020404" pitchFamily="49" charset="0"/>
                        <a:cs typeface="Courier New" panose="02070309020205020404" pitchFamily="49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ourier New" panose="02070309020205020404" pitchFamily="49" charset="0"/>
                        <a:cs typeface="Courier New" panose="02070309020205020404" pitchFamily="49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ourier New" panose="02070309020205020404" pitchFamily="49" charset="0"/>
                        <a:cs typeface="Courier New" panose="02070309020205020404" pitchFamily="49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ourier New" panose="02070309020205020404" pitchFamily="49" charset="0"/>
                        <a:cs typeface="Courier New" panose="02070309020205020404" pitchFamily="49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ourier New" panose="02070309020205020404" pitchFamily="49" charset="0"/>
                        <a:cs typeface="Courier New" panose="02070309020205020404" pitchFamily="49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ourier New" panose="02070309020205020404" pitchFamily="49" charset="0"/>
                        <a:cs typeface="Courier New" panose="02070309020205020404" pitchFamily="49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25394277"/>
                  </a:ext>
                </a:extLst>
              </a:tr>
              <a:tr h="20554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var1(t-7)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var1(t-6)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var1(t-5)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var1(t-4)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var1(t-3)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var1(t-2)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var1(t-1)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var1(t)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var1(t+1)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var1(t+2)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74193506"/>
                  </a:ext>
                </a:extLst>
              </a:tr>
              <a:tr h="205545"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-0.76979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-0.64441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-0.81543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-0.888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-0.97976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-0.89437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-0.77436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-0.95083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-0.94128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-0.81054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52662008"/>
                  </a:ext>
                </a:extLst>
              </a:tr>
              <a:tr h="205545"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-0.64441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-0.81543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-0.888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-0.97976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-0.89437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-0.77436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-0.95083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-0.94128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-0.81054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-0.59717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4611529"/>
                  </a:ext>
                </a:extLst>
              </a:tr>
              <a:tr h="205545"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-0.81543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-0.888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-0.97976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-0.89437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-0.77436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-0.95083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-0.94128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-0.81054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-0.59717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-0.45539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81011403"/>
                  </a:ext>
                </a:extLst>
              </a:tr>
              <a:tr h="205545"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-0.888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-0.97976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-0.89437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-0.77436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-0.95083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-0.94128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-0.81054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-0.59717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-0.45539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-0.55494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50122487"/>
                  </a:ext>
                </a:extLst>
              </a:tr>
            </a:tbl>
          </a:graphicData>
        </a:graphic>
      </p:graphicFrame>
      <p:sp>
        <p:nvSpPr>
          <p:cNvPr id="7" name="Rectangle 2">
            <a:extLst>
              <a:ext uri="{FF2B5EF4-FFF2-40B4-BE49-F238E27FC236}">
                <a16:creationId xmlns:a16="http://schemas.microsoft.com/office/drawing/2014/main" id="{8AE765BD-3F68-496E-B053-D896330E81B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0374" y="5031976"/>
            <a:ext cx="11721626" cy="1092607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1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Stacking Variables for input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FF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chemeClr val="accent2">
                    <a:lumMod val="75000"/>
                  </a:schemeClr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-0.26940083 -0.83040815 -0.98817834 -0.41513455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chemeClr val="accent2">
                    <a:lumMod val="75000"/>
                  </a:schemeClr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[-0.46681908 -0.76966387 -0.97881172 -0.6135296 ] [-0.55183554 -0.59486971 -0.9615232 -0.39404016]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[-0.97976402 -0.8541629 -0.95715392 -0.34994884] [-0.89436613 -0.90802521 -0.9565261 -0.65908628] [-0.77435949 -0.78123192 -0.92089977 -0.65838917]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FF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endParaRPr lang="en-US" altLang="en-US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[[-0.46681908 -0.76966387 -0.97881172 -0.6135296 ] [-0.55183554 -0.59486971 -0.9615232 -0.39404016] [-0.57300599 -0.85965895 -0.95955664 -0.51311526]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[-0.89436613 -0.90802521 -0.9565261 -0.65908628] [-0.77435949 -0.78123192 -0.92089977 -0.65838917] [-0.95083389 -0.56709361 -0.93320202 -0.57424875]] </a:t>
            </a:r>
            <a:b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</a:b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]</a:t>
            </a:r>
            <a:endParaRPr kumimoji="0" lang="en-US" altLang="en-US" sz="1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" name="Title 2">
            <a:extLst>
              <a:ext uri="{FF2B5EF4-FFF2-40B4-BE49-F238E27FC236}">
                <a16:creationId xmlns:a16="http://schemas.microsoft.com/office/drawing/2014/main" id="{377381C9-CEBD-4506-A25E-72EF4963DEBA}"/>
              </a:ext>
            </a:extLst>
          </p:cNvPr>
          <p:cNvSpPr txBox="1">
            <a:spLocks/>
          </p:cNvSpPr>
          <p:nvPr/>
        </p:nvSpPr>
        <p:spPr>
          <a:xfrm>
            <a:off x="477343" y="2466095"/>
            <a:ext cx="11237314" cy="571281"/>
          </a:xfrm>
          <a:prstGeom prst="rect">
            <a:avLst/>
          </a:prstGeom>
        </p:spPr>
        <p:txBody>
          <a:bodyPr vert="horz" lIns="0" tIns="64427" rIns="0" bIns="0" rtlCol="0" anchor="b" anchorCtr="0">
            <a:noAutofit/>
          </a:bodyPr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AU" sz="1891" b="1" kern="1200" spc="0" baseline="0">
                <a:solidFill>
                  <a:srgbClr val="673FB4"/>
                </a:solidFill>
                <a:latin typeface="+mj-lt"/>
                <a:ea typeface="Arial" pitchFamily="-105" charset="-52"/>
                <a:cs typeface="Arial" pitchFamily="34" charset="0"/>
              </a:defRPr>
            </a:lvl1pPr>
            <a:lvl2pPr algn="l" rtl="0" eaLnBrk="1" fontAlgn="base" hangingPunct="1">
              <a:lnSpc>
                <a:spcPts val="3465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sz="3215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2pPr>
            <a:lvl3pPr algn="l" rtl="0" eaLnBrk="1" fontAlgn="base" hangingPunct="1">
              <a:lnSpc>
                <a:spcPts val="3465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sz="3215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3pPr>
            <a:lvl4pPr algn="l" rtl="0" eaLnBrk="1" fontAlgn="base" hangingPunct="1">
              <a:lnSpc>
                <a:spcPts val="3465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sz="3215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4pPr>
            <a:lvl5pPr algn="l" rtl="0" eaLnBrk="1" fontAlgn="base" hangingPunct="1">
              <a:lnSpc>
                <a:spcPts val="3465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sz="3215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5pPr>
            <a:lvl6pPr marL="609292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3405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6pPr>
            <a:lvl7pPr marL="1218585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3405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7pPr>
            <a:lvl8pPr marL="1827878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3405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8pPr>
            <a:lvl9pPr marL="2437170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3405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9pPr>
          </a:lstStyle>
          <a:p>
            <a:r>
              <a:rPr lang="en-US" dirty="0">
                <a:solidFill>
                  <a:schemeClr val="tx2"/>
                </a:solidFill>
              </a:rPr>
              <a:t>Step 1 : Scale and put it in the right format</a:t>
            </a:r>
            <a:endParaRPr lang="en-US" dirty="0"/>
          </a:p>
        </p:txBody>
      </p:sp>
      <p:sp>
        <p:nvSpPr>
          <p:cNvPr id="9" name="Title 2">
            <a:extLst>
              <a:ext uri="{FF2B5EF4-FFF2-40B4-BE49-F238E27FC236}">
                <a16:creationId xmlns:a16="http://schemas.microsoft.com/office/drawing/2014/main" id="{96EE2338-02CD-47C2-B1FB-2F49E5C24A0D}"/>
              </a:ext>
            </a:extLst>
          </p:cNvPr>
          <p:cNvSpPr txBox="1">
            <a:spLocks/>
          </p:cNvSpPr>
          <p:nvPr/>
        </p:nvSpPr>
        <p:spPr>
          <a:xfrm>
            <a:off x="470374" y="4357943"/>
            <a:ext cx="11237314" cy="571281"/>
          </a:xfrm>
          <a:prstGeom prst="rect">
            <a:avLst/>
          </a:prstGeom>
        </p:spPr>
        <p:txBody>
          <a:bodyPr vert="horz" lIns="0" tIns="64427" rIns="0" bIns="0" rtlCol="0" anchor="b" anchorCtr="0">
            <a:noAutofit/>
          </a:bodyPr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AU" sz="1891" b="1" kern="1200" spc="0" baseline="0">
                <a:solidFill>
                  <a:srgbClr val="673FB4"/>
                </a:solidFill>
                <a:latin typeface="+mj-lt"/>
                <a:ea typeface="Arial" pitchFamily="-105" charset="-52"/>
                <a:cs typeface="Arial" pitchFamily="34" charset="0"/>
              </a:defRPr>
            </a:lvl1pPr>
            <a:lvl2pPr algn="l" rtl="0" eaLnBrk="1" fontAlgn="base" hangingPunct="1">
              <a:lnSpc>
                <a:spcPts val="3465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sz="3215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2pPr>
            <a:lvl3pPr algn="l" rtl="0" eaLnBrk="1" fontAlgn="base" hangingPunct="1">
              <a:lnSpc>
                <a:spcPts val="3465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sz="3215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3pPr>
            <a:lvl4pPr algn="l" rtl="0" eaLnBrk="1" fontAlgn="base" hangingPunct="1">
              <a:lnSpc>
                <a:spcPts val="3465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sz="3215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4pPr>
            <a:lvl5pPr algn="l" rtl="0" eaLnBrk="1" fontAlgn="base" hangingPunct="1">
              <a:lnSpc>
                <a:spcPts val="3465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sz="3215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5pPr>
            <a:lvl6pPr marL="609292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3405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6pPr>
            <a:lvl7pPr marL="1218585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3405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7pPr>
            <a:lvl8pPr marL="1827878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3405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8pPr>
            <a:lvl9pPr marL="2437170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3405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9pPr>
          </a:lstStyle>
          <a:p>
            <a:r>
              <a:rPr lang="en-US" dirty="0">
                <a:solidFill>
                  <a:schemeClr val="tx2"/>
                </a:solidFill>
              </a:rPr>
              <a:t>Step 2 : </a:t>
            </a:r>
            <a:r>
              <a:rPr lang="en-US" dirty="0" err="1">
                <a:solidFill>
                  <a:schemeClr val="tx2"/>
                </a:solidFill>
              </a:rPr>
              <a:t>Keras</a:t>
            </a:r>
            <a:r>
              <a:rPr lang="en-US" dirty="0">
                <a:solidFill>
                  <a:schemeClr val="tx2"/>
                </a:solidFill>
              </a:rPr>
              <a:t> LSTM format</a:t>
            </a:r>
            <a:endParaRPr lang="en-US" dirty="0"/>
          </a:p>
        </p:txBody>
      </p:sp>
      <p:graphicFrame>
        <p:nvGraphicFramePr>
          <p:cNvPr id="14" name="Table 13">
            <a:extLst>
              <a:ext uri="{FF2B5EF4-FFF2-40B4-BE49-F238E27FC236}">
                <a16:creationId xmlns:a16="http://schemas.microsoft.com/office/drawing/2014/main" id="{290B04A3-2712-48F3-8FE2-24E74E118F1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76502095"/>
              </p:ext>
            </p:extLst>
          </p:nvPr>
        </p:nvGraphicFramePr>
        <p:xfrm>
          <a:off x="5803583" y="1179544"/>
          <a:ext cx="1333500" cy="1463040"/>
        </p:xfrm>
        <a:graphic>
          <a:graphicData uri="http://schemas.openxmlformats.org/drawingml/2006/table">
            <a:tbl>
              <a:tblPr/>
              <a:tblGrid>
                <a:gridCol w="723900">
                  <a:extLst>
                    <a:ext uri="{9D8B030D-6E8A-4147-A177-3AD203B41FA5}">
                      <a16:colId xmlns:a16="http://schemas.microsoft.com/office/drawing/2014/main" val="4112517157"/>
                    </a:ext>
                  </a:extLst>
                </a:gridCol>
                <a:gridCol w="609600">
                  <a:extLst>
                    <a:ext uri="{9D8B030D-6E8A-4147-A177-3AD203B41FA5}">
                      <a16:colId xmlns:a16="http://schemas.microsoft.com/office/drawing/2014/main" val="1111509908"/>
                    </a:ext>
                  </a:extLst>
                </a:gridCol>
              </a:tblGrid>
              <a:tr h="18288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ate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18642231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/30/2012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834.62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58361390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/31/2012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475.11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37068622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/1/2012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705.85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75970933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/2/2012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118.49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99339769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/5/2012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640.86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58026613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/6/2012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951.1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98464169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/7/2012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261.1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11647961"/>
                  </a:ext>
                </a:extLst>
              </a:tr>
            </a:tbl>
          </a:graphicData>
        </a:graphic>
      </p:graphicFrame>
      <p:graphicFrame>
        <p:nvGraphicFramePr>
          <p:cNvPr id="17" name="Table 16">
            <a:extLst>
              <a:ext uri="{FF2B5EF4-FFF2-40B4-BE49-F238E27FC236}">
                <a16:creationId xmlns:a16="http://schemas.microsoft.com/office/drawing/2014/main" id="{7C708352-B0C5-4C6D-B49A-F564E4C971D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92948233"/>
              </p:ext>
            </p:extLst>
          </p:nvPr>
        </p:nvGraphicFramePr>
        <p:xfrm>
          <a:off x="4320223" y="1179544"/>
          <a:ext cx="1333500" cy="1463040"/>
        </p:xfrm>
        <a:graphic>
          <a:graphicData uri="http://schemas.openxmlformats.org/drawingml/2006/table">
            <a:tbl>
              <a:tblPr/>
              <a:tblGrid>
                <a:gridCol w="723900">
                  <a:extLst>
                    <a:ext uri="{9D8B030D-6E8A-4147-A177-3AD203B41FA5}">
                      <a16:colId xmlns:a16="http://schemas.microsoft.com/office/drawing/2014/main" val="296121955"/>
                    </a:ext>
                  </a:extLst>
                </a:gridCol>
                <a:gridCol w="609600">
                  <a:extLst>
                    <a:ext uri="{9D8B030D-6E8A-4147-A177-3AD203B41FA5}">
                      <a16:colId xmlns:a16="http://schemas.microsoft.com/office/drawing/2014/main" val="124184189"/>
                    </a:ext>
                  </a:extLst>
                </a:gridCol>
              </a:tblGrid>
              <a:tr h="18288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ate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62691477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/30/2012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999.72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71216971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/31/2012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653.08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30421300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/1/2012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489.31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4084188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/2/2012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701.49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34530361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/5/2012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596.95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65542297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/6/2012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734.44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46827519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/7/2012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496.2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92590640"/>
                  </a:ext>
                </a:extLst>
              </a:tr>
            </a:tbl>
          </a:graphicData>
        </a:graphic>
      </p:graphicFrame>
      <p:sp>
        <p:nvSpPr>
          <p:cNvPr id="20" name="Title 2">
            <a:extLst>
              <a:ext uri="{FF2B5EF4-FFF2-40B4-BE49-F238E27FC236}">
                <a16:creationId xmlns:a16="http://schemas.microsoft.com/office/drawing/2014/main" id="{6F4C145E-2942-4005-9853-4D8A90ED5E06}"/>
              </a:ext>
            </a:extLst>
          </p:cNvPr>
          <p:cNvSpPr txBox="1">
            <a:spLocks/>
          </p:cNvSpPr>
          <p:nvPr/>
        </p:nvSpPr>
        <p:spPr>
          <a:xfrm>
            <a:off x="484312" y="609247"/>
            <a:ext cx="11237314" cy="571281"/>
          </a:xfrm>
          <a:prstGeom prst="rect">
            <a:avLst/>
          </a:prstGeom>
        </p:spPr>
        <p:txBody>
          <a:bodyPr vert="horz" lIns="0" tIns="64427" rIns="0" bIns="0" rtlCol="0" anchor="b" anchorCtr="0">
            <a:noAutofit/>
          </a:bodyPr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AU" sz="1891" b="1" kern="1200" spc="0" baseline="0">
                <a:solidFill>
                  <a:srgbClr val="673FB4"/>
                </a:solidFill>
                <a:latin typeface="+mj-lt"/>
                <a:ea typeface="Arial" pitchFamily="-105" charset="-52"/>
                <a:cs typeface="Arial" pitchFamily="34" charset="0"/>
              </a:defRPr>
            </a:lvl1pPr>
            <a:lvl2pPr algn="l" rtl="0" eaLnBrk="1" fontAlgn="base" hangingPunct="1">
              <a:lnSpc>
                <a:spcPts val="3465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sz="3215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2pPr>
            <a:lvl3pPr algn="l" rtl="0" eaLnBrk="1" fontAlgn="base" hangingPunct="1">
              <a:lnSpc>
                <a:spcPts val="3465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sz="3215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3pPr>
            <a:lvl4pPr algn="l" rtl="0" eaLnBrk="1" fontAlgn="base" hangingPunct="1">
              <a:lnSpc>
                <a:spcPts val="3465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sz="3215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4pPr>
            <a:lvl5pPr algn="l" rtl="0" eaLnBrk="1" fontAlgn="base" hangingPunct="1">
              <a:lnSpc>
                <a:spcPts val="3465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sz="3215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5pPr>
            <a:lvl6pPr marL="609292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3405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6pPr>
            <a:lvl7pPr marL="1218585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3405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7pPr>
            <a:lvl8pPr marL="1827878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3405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8pPr>
            <a:lvl9pPr marL="2437170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3405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9pPr>
          </a:lstStyle>
          <a:p>
            <a:r>
              <a:rPr lang="en-US" dirty="0">
                <a:solidFill>
                  <a:schemeClr val="tx2"/>
                </a:solidFill>
              </a:rPr>
              <a:t>Step 0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065782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24E2007-91D0-4743-BFB2-13012139B7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7030A0"/>
                </a:solidFill>
              </a:rPr>
              <a:t>Results from model using all available series</a:t>
            </a:r>
            <a:endParaRPr lang="en-US" dirty="0"/>
          </a:p>
        </p:txBody>
      </p:sp>
      <p:sp>
        <p:nvSpPr>
          <p:cNvPr id="3" name="Text Placeholder 6">
            <a:extLst>
              <a:ext uri="{FF2B5EF4-FFF2-40B4-BE49-F238E27FC236}">
                <a16:creationId xmlns:a16="http://schemas.microsoft.com/office/drawing/2014/main" id="{048E9DF4-9374-4595-BC89-E398FADAFD1B}"/>
              </a:ext>
            </a:extLst>
          </p:cNvPr>
          <p:cNvSpPr txBox="1">
            <a:spLocks/>
          </p:cNvSpPr>
          <p:nvPr/>
        </p:nvSpPr>
        <p:spPr>
          <a:xfrm>
            <a:off x="8051800" y="1776175"/>
            <a:ext cx="3456432" cy="626534"/>
          </a:xfrm>
          <a:prstGeom prst="rect">
            <a:avLst/>
          </a:prstGeom>
        </p:spPr>
        <p:txBody>
          <a:bodyPr/>
          <a:lstStyle>
            <a:lvl1pPr marL="228590" indent="-228590" algn="l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FFC000"/>
              </a:buClr>
              <a:buSzPct val="70000"/>
              <a:buFont typeface="Wingdings" pitchFamily="2" charset="2"/>
              <a:buChar char="§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71477" indent="-228590" algn="l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FFC000"/>
              </a:buClr>
              <a:buSzPct val="70000"/>
              <a:buFont typeface="Wingdings" pitchFamily="2" charset="2"/>
              <a:buChar char="§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914364" indent="-228590" algn="l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FFC000"/>
              </a:buClr>
              <a:buSzPct val="70000"/>
              <a:buFont typeface="Wingdings" pitchFamily="2" charset="2"/>
              <a:buChar char="§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371545" indent="-228590" algn="l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FFC000"/>
              </a:buClr>
              <a:buSzPct val="70000"/>
              <a:buFont typeface="Wingdings" pitchFamily="2" charset="2"/>
              <a:buChar char="§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2057317" indent="-228590" algn="l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FFC000"/>
              </a:buClr>
              <a:buSzPct val="70000"/>
              <a:buFont typeface="Wingdings" pitchFamily="2" charset="2"/>
              <a:buChar char="§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2514499" indent="-228590" algn="l" defTabSz="91436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81" indent="-228590" algn="l" defTabSz="91436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63" indent="-228590" algn="l" defTabSz="91436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44" indent="-228590" algn="l" defTabSz="91436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dirty="0"/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46B5171C-8C2E-45FE-A40A-89DFDF3893C4}"/>
              </a:ext>
            </a:extLst>
          </p:cNvPr>
          <p:cNvSpPr txBox="1">
            <a:spLocks/>
          </p:cNvSpPr>
          <p:nvPr/>
        </p:nvSpPr>
        <p:spPr>
          <a:xfrm>
            <a:off x="8125968" y="1819035"/>
            <a:ext cx="3456432" cy="3940666"/>
          </a:xfrm>
          <a:prstGeom prst="rect">
            <a:avLst/>
          </a:prstGeom>
        </p:spPr>
        <p:txBody>
          <a:bodyPr>
            <a:normAutofit/>
          </a:bodyPr>
          <a:lstStyle>
            <a:lvl1pPr marL="228590" indent="-228590" algn="l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FFC000"/>
              </a:buClr>
              <a:buSzPct val="70000"/>
              <a:buFont typeface="Wingdings" pitchFamily="2" charset="2"/>
              <a:buChar char="§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71477" indent="-228590" algn="l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FFC000"/>
              </a:buClr>
              <a:buSzPct val="70000"/>
              <a:buFont typeface="Wingdings" pitchFamily="2" charset="2"/>
              <a:buChar char="§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914364" indent="-228590" algn="l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FFC000"/>
              </a:buClr>
              <a:buSzPct val="70000"/>
              <a:buFont typeface="Wingdings" pitchFamily="2" charset="2"/>
              <a:buChar char="§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371545" indent="-228590" algn="l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FFC000"/>
              </a:buClr>
              <a:buSzPct val="70000"/>
              <a:buFont typeface="Wingdings" pitchFamily="2" charset="2"/>
              <a:buChar char="§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2057317" indent="-228590" algn="l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FFC000"/>
              </a:buClr>
              <a:buSzPct val="70000"/>
              <a:buFont typeface="Wingdings" pitchFamily="2" charset="2"/>
              <a:buChar char="§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2514499" indent="-228590" algn="l" defTabSz="91436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81" indent="-228590" algn="l" defTabSz="91436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63" indent="-228590" algn="l" defTabSz="91436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44" indent="-228590" algn="l" defTabSz="91436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b="1" dirty="0"/>
              <a:t>7-day forecast</a:t>
            </a:r>
            <a:endParaRPr lang="fr-FR" sz="1800" b="1" dirty="0"/>
          </a:p>
          <a:p>
            <a:pPr lvl="1"/>
            <a:r>
              <a:rPr lang="fr-FR" sz="1400" dirty="0"/>
              <a:t>t+1 MAPE: 2.778951</a:t>
            </a:r>
          </a:p>
          <a:p>
            <a:pPr lvl="1"/>
            <a:r>
              <a:rPr lang="fr-FR" sz="1400" dirty="0"/>
              <a:t>t+2 MAPE: 3.106574</a:t>
            </a:r>
          </a:p>
          <a:p>
            <a:pPr lvl="1"/>
            <a:r>
              <a:rPr lang="fr-FR" sz="1400" dirty="0"/>
              <a:t>t+3 MAPE: 2.670600</a:t>
            </a:r>
          </a:p>
          <a:p>
            <a:pPr lvl="1"/>
            <a:r>
              <a:rPr lang="fr-FR" sz="1400" dirty="0"/>
              <a:t>t+4 MAPE: 2.744402</a:t>
            </a:r>
          </a:p>
          <a:p>
            <a:pPr lvl="1"/>
            <a:r>
              <a:rPr lang="fr-FR" sz="1400" dirty="0"/>
              <a:t>t+5 MAPE: 3.881524</a:t>
            </a:r>
          </a:p>
          <a:p>
            <a:pPr lvl="1"/>
            <a:r>
              <a:rPr lang="fr-FR" sz="1400" dirty="0"/>
              <a:t>t+6 MAPE: 5.055358</a:t>
            </a:r>
          </a:p>
          <a:p>
            <a:pPr lvl="1"/>
            <a:r>
              <a:rPr lang="fr-FR" sz="1400" dirty="0"/>
              <a:t>t+7 MAPE: 4.702832</a:t>
            </a:r>
            <a:endParaRPr lang="en-US" sz="1400" dirty="0"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4D76B649-618B-4998-9D9E-4E4534DCF281}"/>
              </a:ext>
            </a:extLst>
          </p:cNvPr>
          <p:cNvSpPr txBox="1">
            <a:spLocks/>
          </p:cNvSpPr>
          <p:nvPr/>
        </p:nvSpPr>
        <p:spPr>
          <a:xfrm>
            <a:off x="4366858" y="1785389"/>
            <a:ext cx="3456432" cy="617320"/>
          </a:xfrm>
          <a:prstGeom prst="rect">
            <a:avLst/>
          </a:prstGeom>
        </p:spPr>
        <p:txBody>
          <a:bodyPr/>
          <a:lstStyle>
            <a:lvl1pPr marL="228590" indent="-228590" algn="l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FFC000"/>
              </a:buClr>
              <a:buSzPct val="70000"/>
              <a:buFont typeface="Wingdings" pitchFamily="2" charset="2"/>
              <a:buChar char="§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71477" indent="-228590" algn="l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FFC000"/>
              </a:buClr>
              <a:buSzPct val="70000"/>
              <a:buFont typeface="Wingdings" pitchFamily="2" charset="2"/>
              <a:buChar char="§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914364" indent="-228590" algn="l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FFC000"/>
              </a:buClr>
              <a:buSzPct val="70000"/>
              <a:buFont typeface="Wingdings" pitchFamily="2" charset="2"/>
              <a:buChar char="§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371545" indent="-228590" algn="l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FFC000"/>
              </a:buClr>
              <a:buSzPct val="70000"/>
              <a:buFont typeface="Wingdings" pitchFamily="2" charset="2"/>
              <a:buChar char="§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2057317" indent="-228590" algn="l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FFC000"/>
              </a:buClr>
              <a:buSzPct val="70000"/>
              <a:buFont typeface="Wingdings" pitchFamily="2" charset="2"/>
              <a:buChar char="§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2514499" indent="-228590" algn="l" defTabSz="91436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81" indent="-228590" algn="l" defTabSz="91436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63" indent="-228590" algn="l" defTabSz="91436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44" indent="-228590" algn="l" defTabSz="91436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dirty="0"/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47175A97-308D-443F-804A-AD5EA29A5337}"/>
              </a:ext>
            </a:extLst>
          </p:cNvPr>
          <p:cNvSpPr txBox="1">
            <a:spLocks/>
          </p:cNvSpPr>
          <p:nvPr/>
        </p:nvSpPr>
        <p:spPr>
          <a:xfrm>
            <a:off x="4344560" y="1813787"/>
            <a:ext cx="3566804" cy="1036473"/>
          </a:xfrm>
          <a:prstGeom prst="rect">
            <a:avLst/>
          </a:prstGeom>
        </p:spPr>
        <p:txBody>
          <a:bodyPr/>
          <a:lstStyle>
            <a:lvl1pPr marL="228590" indent="-228590" algn="l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FFC000"/>
              </a:buClr>
              <a:buSzPct val="70000"/>
              <a:buFont typeface="Wingdings" pitchFamily="2" charset="2"/>
              <a:buChar char="§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71477" indent="-228590" algn="l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FFC000"/>
              </a:buClr>
              <a:buSzPct val="70000"/>
              <a:buFont typeface="Wingdings" pitchFamily="2" charset="2"/>
              <a:buChar char="§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914364" indent="-228590" algn="l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FFC000"/>
              </a:buClr>
              <a:buSzPct val="70000"/>
              <a:buFont typeface="Wingdings" pitchFamily="2" charset="2"/>
              <a:buChar char="§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371545" indent="-228590" algn="l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FFC000"/>
              </a:buClr>
              <a:buSzPct val="70000"/>
              <a:buFont typeface="Wingdings" pitchFamily="2" charset="2"/>
              <a:buChar char="§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2057317" indent="-228590" algn="l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FFC000"/>
              </a:buClr>
              <a:buSzPct val="70000"/>
              <a:buFont typeface="Wingdings" pitchFamily="2" charset="2"/>
              <a:buChar char="§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2514499" indent="-228590" algn="l" defTabSz="91436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81" indent="-228590" algn="l" defTabSz="91436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63" indent="-228590" algn="l" defTabSz="91436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44" indent="-228590" algn="l" defTabSz="91436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b="1" dirty="0"/>
              <a:t>One day forecast</a:t>
            </a:r>
          </a:p>
          <a:p>
            <a:r>
              <a:rPr lang="en-US" altLang="en-US" sz="1400" dirty="0">
                <a:solidFill>
                  <a:srgbClr val="000000"/>
                </a:solidFill>
                <a:cs typeface="Courier New" panose="02070309020205020404" pitchFamily="49" charset="0"/>
              </a:rPr>
              <a:t>t+1 MAPE: 4.003819</a:t>
            </a:r>
            <a:endParaRPr lang="en-US" altLang="en-US" sz="1400" dirty="0"/>
          </a:p>
          <a:p>
            <a:endParaRPr lang="en-US" dirty="0"/>
          </a:p>
          <a:p>
            <a:pPr lvl="1"/>
            <a:endParaRPr lang="en-US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DE33A3B-AD36-4663-8105-CF634ADDCEAC}"/>
              </a:ext>
            </a:extLst>
          </p:cNvPr>
          <p:cNvSpPr txBox="1"/>
          <p:nvPr/>
        </p:nvSpPr>
        <p:spPr>
          <a:xfrm>
            <a:off x="470703" y="1020692"/>
            <a:ext cx="746684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rgbClr val="7030A0"/>
                </a:solidFill>
              </a:rPr>
              <a:t>*Results based on testing against 20% of dataset, all are 14 days lookback</a:t>
            </a:r>
            <a:endParaRPr lang="en-US" dirty="0"/>
          </a:p>
        </p:txBody>
      </p:sp>
      <p:sp>
        <p:nvSpPr>
          <p:cNvPr id="11" name="Rectangle 2">
            <a:extLst>
              <a:ext uri="{FF2B5EF4-FFF2-40B4-BE49-F238E27FC236}">
                <a16:creationId xmlns:a16="http://schemas.microsoft.com/office/drawing/2014/main" id="{87475D28-5380-495B-9FDF-7EB978CFDA7C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90100"/>
            <a:ext cx="65" cy="276999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A914D972-1E97-4A54-8301-56B95A029C8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46170" y="2588536"/>
            <a:ext cx="4005630" cy="2670420"/>
          </a:xfrm>
          <a:prstGeom prst="rect">
            <a:avLst/>
          </a:prstGeom>
        </p:spPr>
      </p:pic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91A02395-AC6B-4AA5-AEBF-3EF5B0A008E2}"/>
              </a:ext>
            </a:extLst>
          </p:cNvPr>
          <p:cNvSpPr txBox="1">
            <a:spLocks/>
          </p:cNvSpPr>
          <p:nvPr/>
        </p:nvSpPr>
        <p:spPr>
          <a:xfrm>
            <a:off x="747692" y="1813787"/>
            <a:ext cx="3456432" cy="3891905"/>
          </a:xfrm>
          <a:prstGeom prst="rect">
            <a:avLst/>
          </a:prstGeom>
        </p:spPr>
        <p:txBody>
          <a:bodyPr>
            <a:normAutofit/>
          </a:bodyPr>
          <a:lstStyle>
            <a:lvl1pPr marL="228590" indent="-228590" algn="l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FFC000"/>
              </a:buClr>
              <a:buSzPct val="70000"/>
              <a:buFont typeface="Wingdings" pitchFamily="2" charset="2"/>
              <a:buChar char="§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71477" indent="-228590" algn="l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FFC000"/>
              </a:buClr>
              <a:buSzPct val="70000"/>
              <a:buFont typeface="Wingdings" pitchFamily="2" charset="2"/>
              <a:buChar char="§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914364" indent="-228590" algn="l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FFC000"/>
              </a:buClr>
              <a:buSzPct val="70000"/>
              <a:buFont typeface="Wingdings" pitchFamily="2" charset="2"/>
              <a:buChar char="§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371545" indent="-228590" algn="l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FFC000"/>
              </a:buClr>
              <a:buSzPct val="70000"/>
              <a:buFont typeface="Wingdings" pitchFamily="2" charset="2"/>
              <a:buChar char="§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2057317" indent="-228590" algn="l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FFC000"/>
              </a:buClr>
              <a:buSzPct val="70000"/>
              <a:buFont typeface="Wingdings" pitchFamily="2" charset="2"/>
              <a:buChar char="§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2514499" indent="-228590" algn="l" defTabSz="91436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81" indent="-228590" algn="l" defTabSz="91436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63" indent="-228590" algn="l" defTabSz="91436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44" indent="-228590" algn="l" defTabSz="91436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b="1" dirty="0"/>
              <a:t>One day binary Up/Down </a:t>
            </a:r>
            <a:endParaRPr lang="en-US" altLang="en-US" sz="1800" b="1" dirty="0">
              <a:solidFill>
                <a:srgbClr val="000000"/>
              </a:solidFill>
            </a:endParaRPr>
          </a:p>
          <a:p>
            <a:pPr lvl="1"/>
            <a:r>
              <a:rPr lang="en-US" altLang="en-US" sz="1400" dirty="0" err="1">
                <a:solidFill>
                  <a:srgbClr val="000000"/>
                </a:solidFill>
              </a:rPr>
              <a:t>binary_accuracy</a:t>
            </a:r>
            <a:r>
              <a:rPr lang="en-US" altLang="en-US" sz="1400" dirty="0">
                <a:solidFill>
                  <a:srgbClr val="000000"/>
                </a:solidFill>
              </a:rPr>
              <a:t>: 0.9600</a:t>
            </a:r>
          </a:p>
          <a:p>
            <a:endParaRPr lang="en-US" altLang="en-US" sz="1800" dirty="0"/>
          </a:p>
          <a:p>
            <a:endParaRPr lang="en-US" sz="1600" dirty="0"/>
          </a:p>
        </p:txBody>
      </p:sp>
      <p:graphicFrame>
        <p:nvGraphicFramePr>
          <p:cNvPr id="17" name="Table 16">
            <a:extLst>
              <a:ext uri="{FF2B5EF4-FFF2-40B4-BE49-F238E27FC236}">
                <a16:creationId xmlns:a16="http://schemas.microsoft.com/office/drawing/2014/main" id="{764CDB43-4A9D-4244-9BDC-6C264EE4A95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36427239"/>
              </p:ext>
            </p:extLst>
          </p:nvPr>
        </p:nvGraphicFramePr>
        <p:xfrm>
          <a:off x="1649297" y="2588536"/>
          <a:ext cx="1219200" cy="2926080"/>
        </p:xfrm>
        <a:graphic>
          <a:graphicData uri="http://schemas.openxmlformats.org/drawingml/2006/table">
            <a:tbl>
              <a:tblPr/>
              <a:tblGrid>
                <a:gridCol w="609600">
                  <a:extLst>
                    <a:ext uri="{9D8B030D-6E8A-4147-A177-3AD203B41FA5}">
                      <a16:colId xmlns:a16="http://schemas.microsoft.com/office/drawing/2014/main" val="795796924"/>
                    </a:ext>
                  </a:extLst>
                </a:gridCol>
                <a:gridCol w="609600">
                  <a:extLst>
                    <a:ext uri="{9D8B030D-6E8A-4147-A177-3AD203B41FA5}">
                      <a16:colId xmlns:a16="http://schemas.microsoft.com/office/drawing/2014/main" val="1221674295"/>
                    </a:ext>
                  </a:extLst>
                </a:gridCol>
              </a:tblGrid>
              <a:tr h="18288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ctual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0CE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edicted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0CEC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78864263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982326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32400008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25937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05254976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03467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28379334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08001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99091753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9973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99661136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730328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16704007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01783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98036962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96092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62227555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916944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32140549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997391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40006238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15994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607514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01889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80380676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02588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12876520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998504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27826124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999864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590239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4788940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E31A427-2140-4180-9216-75C3D7DA2B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0374" y="170125"/>
            <a:ext cx="2468880" cy="571281"/>
          </a:xfrm>
        </p:spPr>
        <p:txBody>
          <a:bodyPr/>
          <a:lstStyle/>
          <a:p>
            <a:r>
              <a:rPr lang="en-US" dirty="0"/>
              <a:t>Multiday forecast results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DD6467E0-1299-4F5E-892E-B954A361511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63590" y="4436404"/>
            <a:ext cx="2468880" cy="164592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168DF9BE-A7A2-4E9A-A525-64D9DEDB436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4710" y="4476770"/>
            <a:ext cx="2468880" cy="1645920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BCCFC749-344C-4933-96CD-1C2B55CF643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5344" y="2703576"/>
            <a:ext cx="2468880" cy="1645920"/>
          </a:xfrm>
          <a:prstGeom prst="rect">
            <a:avLst/>
          </a:prstGeom>
        </p:spPr>
      </p:pic>
      <p:pic>
        <p:nvPicPr>
          <p:cNvPr id="32" name="Picture 31">
            <a:extLst>
              <a:ext uri="{FF2B5EF4-FFF2-40B4-BE49-F238E27FC236}">
                <a16:creationId xmlns:a16="http://schemas.microsoft.com/office/drawing/2014/main" id="{2E0D164F-F902-4C69-AFD2-FE59CA924B2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2518" y="997438"/>
            <a:ext cx="2468880" cy="1645920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48B5BDFD-6150-4518-9401-6284BB7156D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478028" y="997438"/>
            <a:ext cx="2468880" cy="1645920"/>
          </a:xfrm>
          <a:prstGeom prst="rect">
            <a:avLst/>
          </a:prstGeom>
        </p:spPr>
      </p:pic>
      <p:pic>
        <p:nvPicPr>
          <p:cNvPr id="30" name="Picture 29">
            <a:extLst>
              <a:ext uri="{FF2B5EF4-FFF2-40B4-BE49-F238E27FC236}">
                <a16:creationId xmlns:a16="http://schemas.microsoft.com/office/drawing/2014/main" id="{DBE6C26A-656D-4B8F-924D-DD76DC866CD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933408" y="997438"/>
            <a:ext cx="2468880" cy="1645920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022FB903-5649-4600-9D98-8986736F7DF4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402288" y="997438"/>
            <a:ext cx="2468880" cy="1645920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285FF718-56E2-442B-845A-D07EA0755184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9700260" y="996696"/>
            <a:ext cx="2468880" cy="1645920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E8A823DE-64DD-40A6-B453-6FA35A3F9666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516124" y="2703576"/>
            <a:ext cx="2468880" cy="1645920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068A391B-4E14-4A63-9F55-486B36A20C03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4946904" y="2703576"/>
            <a:ext cx="2468880" cy="1645920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DDDB9E41-7B5B-4CFF-B95D-37995EEFB492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7377684" y="2703576"/>
            <a:ext cx="2468880" cy="1645920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577CA214-FCC4-44F6-B931-98EFAFAB7B8A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9749248" y="2703576"/>
            <a:ext cx="2468880" cy="164592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E0E5B2C2-AE2E-4D37-BD8C-F1B7660EFF01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7354610" y="4428824"/>
            <a:ext cx="2468880" cy="164592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DB946627-1989-43CC-B83C-8B32046A607B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4959100" y="4436404"/>
            <a:ext cx="2468880" cy="164592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C00C4F7B-8AA9-4AA8-9896-03C2F33B63B4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9749248" y="4378492"/>
            <a:ext cx="2468880" cy="16459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276347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46B0D2E4-D2BE-48A2-8B80-23B4D4FD3C4C}"/>
              </a:ext>
            </a:extLst>
          </p:cNvPr>
          <p:cNvSpPr txBox="1">
            <a:spLocks/>
          </p:cNvSpPr>
          <p:nvPr/>
        </p:nvSpPr>
        <p:spPr>
          <a:xfrm>
            <a:off x="1371600" y="1803405"/>
            <a:ext cx="9448800" cy="1825096"/>
          </a:xfrm>
          <a:prstGeom prst="rect">
            <a:avLst/>
          </a:prstGeom>
        </p:spPr>
        <p:txBody>
          <a:bodyPr vert="horz" lIns="0" tIns="64427" rIns="0" bIns="0" rtlCol="0" anchor="b" anchorCtr="0">
            <a:normAutofit fontScale="97500"/>
          </a:bodyPr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AU" sz="6000" b="1" kern="1200" spc="0" baseline="0">
                <a:solidFill>
                  <a:schemeClr val="tx1"/>
                </a:solidFill>
                <a:latin typeface="+mj-lt"/>
                <a:ea typeface="Arial" pitchFamily="-105" charset="-52"/>
                <a:cs typeface="Arial" pitchFamily="34" charset="0"/>
              </a:defRPr>
            </a:lvl1pPr>
            <a:lvl2pPr algn="l" rtl="0" eaLnBrk="1" fontAlgn="base" hangingPunct="1">
              <a:lnSpc>
                <a:spcPts val="3465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sz="3215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2pPr>
            <a:lvl3pPr algn="l" rtl="0" eaLnBrk="1" fontAlgn="base" hangingPunct="1">
              <a:lnSpc>
                <a:spcPts val="3465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sz="3215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3pPr>
            <a:lvl4pPr algn="l" rtl="0" eaLnBrk="1" fontAlgn="base" hangingPunct="1">
              <a:lnSpc>
                <a:spcPts val="3465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sz="3215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4pPr>
            <a:lvl5pPr algn="l" rtl="0" eaLnBrk="1" fontAlgn="base" hangingPunct="1">
              <a:lnSpc>
                <a:spcPts val="3465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sz="3215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5pPr>
            <a:lvl6pPr marL="609292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3405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6pPr>
            <a:lvl7pPr marL="1218585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3405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7pPr>
            <a:lvl8pPr marL="1827878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3405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8pPr>
            <a:lvl9pPr marL="2437170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3405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 dirty="0">
                <a:solidFill>
                  <a:srgbClr val="000000"/>
                </a:solidFill>
                <a:latin typeface="Arial"/>
              </a:rPr>
              <a:t>Comment </a:t>
            </a:r>
            <a:r>
              <a:rPr kumimoji="0" lang="en-US" sz="6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 pitchFamily="34" charset="0"/>
              </a:rPr>
              <a:t>intent detection</a:t>
            </a:r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36717AF8-DBDB-4023-B911-ADE5BAB23780}"/>
              </a:ext>
            </a:extLst>
          </p:cNvPr>
          <p:cNvSpPr txBox="1">
            <a:spLocks/>
          </p:cNvSpPr>
          <p:nvPr/>
        </p:nvSpPr>
        <p:spPr>
          <a:xfrm>
            <a:off x="1371600" y="3632201"/>
            <a:ext cx="9448800" cy="685800"/>
          </a:xfrm>
          <a:prstGeom prst="rect">
            <a:avLst/>
          </a:prstGeom>
        </p:spPr>
        <p:txBody>
          <a:bodyPr vert="horz" lIns="0" tIns="64427" rIns="0" bIns="64427" rtlCol="0">
            <a:normAutofit/>
          </a:bodyPr>
          <a:lstStyle>
            <a:lvl1pPr marL="0" indent="0" algn="l" rtl="0" eaLnBrk="1" fontAlgn="base" hangingPunct="1">
              <a:spcBef>
                <a:spcPts val="800"/>
              </a:spcBef>
              <a:spcAft>
                <a:spcPct val="0"/>
              </a:spcAft>
              <a:buFont typeface="Arial" pitchFamily="34" charset="0"/>
              <a:buNone/>
              <a:defRPr sz="20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1pPr>
            <a:lvl2pPr marL="457200" indent="0" algn="ctr" rtl="0" eaLnBrk="1" fontAlgn="base" hangingPunct="1">
              <a:spcBef>
                <a:spcPts val="800"/>
              </a:spcBef>
              <a:spcAft>
                <a:spcPct val="0"/>
              </a:spcAft>
              <a:buFont typeface="Arial" pitchFamily="34" charset="0"/>
              <a:buNone/>
              <a:defRPr sz="20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2pPr>
            <a:lvl3pPr marL="914400" indent="0" algn="ctr" rtl="0" eaLnBrk="1" fontAlgn="base" hangingPunct="1">
              <a:spcBef>
                <a:spcPts val="800"/>
              </a:spcBef>
              <a:spcAft>
                <a:spcPct val="0"/>
              </a:spcAft>
              <a:buFont typeface="Arial" pitchFamily="34" charset="0"/>
              <a:buNone/>
              <a:tabLst/>
              <a:defRPr sz="18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3pPr>
            <a:lvl4pPr marL="1371600" indent="0" algn="ctr" rtl="0" eaLnBrk="1" fontAlgn="base" hangingPunct="1">
              <a:spcBef>
                <a:spcPts val="800"/>
              </a:spcBef>
              <a:spcAft>
                <a:spcPct val="0"/>
              </a:spcAft>
              <a:buFont typeface="Arial" pitchFamily="34" charset="0"/>
              <a:buNone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4pPr>
            <a:lvl5pPr marL="1828800" indent="0" algn="ctr" rtl="0" eaLnBrk="1" fontAlgn="base" hangingPunct="1">
              <a:spcBef>
                <a:spcPts val="800"/>
              </a:spcBef>
              <a:spcAft>
                <a:spcPct val="0"/>
              </a:spcAft>
              <a:buFont typeface="Arial" pitchFamily="34" charset="0"/>
              <a:buNone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5pPr>
            <a:lvl6pPr marL="2286000" indent="0" algn="ctr" defTabSz="1218585" rtl="0" eaLnBrk="1" latinLnBrk="0" hangingPunct="1">
              <a:spcBef>
                <a:spcPct val="20000"/>
              </a:spcBef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1218585" rtl="0" eaLnBrk="1" latinLnBrk="0" hangingPunct="1">
              <a:spcBef>
                <a:spcPct val="20000"/>
              </a:spcBef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1218585" rtl="0" eaLnBrk="1" latinLnBrk="0" hangingPunct="1">
              <a:spcBef>
                <a:spcPct val="20000"/>
              </a:spcBef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1218585" rtl="0" eaLnBrk="1" latinLnBrk="0" hangingPunct="1">
              <a:spcBef>
                <a:spcPct val="20000"/>
              </a:spcBef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  <a:latin typeface="Arial"/>
                <a:cs typeface="Arial" pitchFamily="34" charset="0"/>
              </a:rPr>
              <a:t>Nanut </a:t>
            </a: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  <a:latin typeface="Arial"/>
                <a:cs typeface="Arial" pitchFamily="34" charset="0"/>
              </a:rPr>
              <a:t>Chaichanawanich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  <a:latin typeface="Arial"/>
                <a:cs typeface="Arial" pitchFamily="34" charset="0"/>
              </a:rPr>
              <a:t> (Na)</a:t>
            </a:r>
          </a:p>
        </p:txBody>
      </p:sp>
    </p:spTree>
    <p:extLst>
      <p:ext uri="{BB962C8B-B14F-4D97-AF65-F5344CB8AC3E}">
        <p14:creationId xmlns:p14="http://schemas.microsoft.com/office/powerpoint/2010/main" val="330264739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F0927C5F-C99C-4973-8D8A-219634D44A3A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465260" y="4291917"/>
            <a:ext cx="11242428" cy="1731038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To detect the intent of the various comments automatically, so that bank personnel can better target interested customers instead of reading and filtering out the comments manually. </a:t>
            </a:r>
          </a:p>
          <a:p>
            <a:pPr>
              <a:lnSpc>
                <a:spcPct val="100000"/>
              </a:lnSpc>
            </a:pPr>
            <a:r>
              <a:rPr lang="en-US" dirty="0"/>
              <a:t>To learn about various NLP methods and algorithms. How can machine learn human words?</a:t>
            </a:r>
          </a:p>
          <a:p>
            <a:pPr>
              <a:lnSpc>
                <a:spcPct val="100000"/>
              </a:lnSpc>
            </a:pPr>
            <a:r>
              <a:rPr lang="en-US" dirty="0"/>
              <a:t>To gain a better understanding of NLP in Thai.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7F127F17-6A75-4517-BF6B-388A4C07F4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ackground</a:t>
            </a:r>
          </a:p>
        </p:txBody>
      </p:sp>
      <p:sp>
        <p:nvSpPr>
          <p:cNvPr id="11" name="Title 2">
            <a:extLst>
              <a:ext uri="{FF2B5EF4-FFF2-40B4-BE49-F238E27FC236}">
                <a16:creationId xmlns:a16="http://schemas.microsoft.com/office/drawing/2014/main" id="{F5CCC393-09DD-4A87-B99A-4830D4447A98}"/>
              </a:ext>
            </a:extLst>
          </p:cNvPr>
          <p:cNvSpPr txBox="1">
            <a:spLocks/>
          </p:cNvSpPr>
          <p:nvPr/>
        </p:nvSpPr>
        <p:spPr>
          <a:xfrm>
            <a:off x="477343" y="3575682"/>
            <a:ext cx="11237314" cy="571281"/>
          </a:xfrm>
          <a:prstGeom prst="rect">
            <a:avLst/>
          </a:prstGeom>
        </p:spPr>
        <p:txBody>
          <a:bodyPr vert="horz" lIns="0" tIns="64427" rIns="0" bIns="0" rtlCol="0" anchor="b" anchorCtr="0">
            <a:noAutofit/>
          </a:bodyPr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AU" sz="1891" b="1" kern="1200" spc="0" baseline="0">
                <a:solidFill>
                  <a:srgbClr val="4F2A81"/>
                </a:solidFill>
                <a:latin typeface="+mj-lt"/>
                <a:ea typeface="Arial" pitchFamily="-105" charset="-52"/>
                <a:cs typeface="Arial" pitchFamily="34" charset="0"/>
              </a:defRPr>
            </a:lvl1pPr>
            <a:lvl2pPr algn="l" rtl="0" eaLnBrk="1" fontAlgn="base" hangingPunct="1">
              <a:lnSpc>
                <a:spcPts val="3465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sz="3215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2pPr>
            <a:lvl3pPr algn="l" rtl="0" eaLnBrk="1" fontAlgn="base" hangingPunct="1">
              <a:lnSpc>
                <a:spcPts val="3465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sz="3215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3pPr>
            <a:lvl4pPr algn="l" rtl="0" eaLnBrk="1" fontAlgn="base" hangingPunct="1">
              <a:lnSpc>
                <a:spcPts val="3465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sz="3215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4pPr>
            <a:lvl5pPr algn="l" rtl="0" eaLnBrk="1" fontAlgn="base" hangingPunct="1">
              <a:lnSpc>
                <a:spcPts val="3465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sz="3215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5pPr>
            <a:lvl6pPr marL="609292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3405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6pPr>
            <a:lvl7pPr marL="1218585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3405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7pPr>
            <a:lvl8pPr marL="1827878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3405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8pPr>
            <a:lvl9pPr marL="2437170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3405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9pPr>
          </a:lstStyle>
          <a:p>
            <a:r>
              <a:rPr lang="en-US"/>
              <a:t>Objective</a:t>
            </a:r>
            <a:endParaRPr lang="en-US" dirty="0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BDA00AF9-6E37-4181-8982-E207F6116AD3}"/>
              </a:ext>
            </a:extLst>
          </p:cNvPr>
          <p:cNvCxnSpPr/>
          <p:nvPr/>
        </p:nvCxnSpPr>
        <p:spPr>
          <a:xfrm>
            <a:off x="368904" y="4234883"/>
            <a:ext cx="11831888" cy="0"/>
          </a:xfrm>
          <a:prstGeom prst="line">
            <a:avLst/>
          </a:prstGeom>
          <a:ln w="3175" cmpd="sng">
            <a:solidFill>
              <a:schemeClr val="tx1">
                <a:lumMod val="65000"/>
                <a:lumOff val="35000"/>
              </a:schemeClr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6" name="Picture 15">
            <a:extLst>
              <a:ext uri="{FF2B5EF4-FFF2-40B4-BE49-F238E27FC236}">
                <a16:creationId xmlns:a16="http://schemas.microsoft.com/office/drawing/2014/main" id="{9891FE3E-9EEB-4CB0-96A9-DCE52A5B425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20284" y="961848"/>
            <a:ext cx="3207017" cy="3052592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32E96194-F245-47BD-887B-835513FC48D0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8797" r="20633"/>
          <a:stretch/>
        </p:blipFill>
        <p:spPr>
          <a:xfrm>
            <a:off x="6284848" y="1002676"/>
            <a:ext cx="3553633" cy="30117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594871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OGONAME" val="HSBC Commercial Banking"/>
  <p:tag name="LOGOTOP" val="478.9376"/>
  <p:tag name="LOGOLEFT" val="633.5"/>
  <p:tag name="LOGOHEIGHT" val="50.25"/>
  <p:tag name="LOGOWIDTH" val="134.625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OGONAME" val="HSBC Business"/>
  <p:tag name="LOGOTOP" val="479.2501"/>
  <p:tag name="LOGOLEFT" val="633.8751"/>
  <p:tag name="LOGOHEIGHT" val="51.5"/>
  <p:tag name="LOGOWIDTH" val="133.87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OGONAME" val="HSBC Advance"/>
  <p:tag name="LOGOTOP" val="479.25"/>
  <p:tag name="LOGOLEFT" val="633.83"/>
  <p:tag name="LOGOHEIGHT" val="51.3885"/>
  <p:tag name="LOGOWIDTH" val="133.92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OGONAME" val="HSBC Private Bank"/>
  <p:tag name="LOGOTOP" val="479.2501"/>
  <p:tag name="LOGOLEFT" val="633.6251"/>
  <p:tag name="LOGOHEIGHT" val="51.5"/>
  <p:tag name="LOGOWIDTH" val="134.125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OGONAME" val="HSBC Premier"/>
  <p:tag name="LOGOTOP" val="479.4376"/>
  <p:tag name="LOGOLEFT" val="633.8751"/>
  <p:tag name="LOGOHEIGHT" val="51.37496"/>
  <p:tag name="LOGOWIDTH" val="133.875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OGONAME" val="HSBC Insurance"/>
  <p:tag name="LOGOTOP" val="479.25"/>
  <p:tag name="LOGOLEFT" val="633.83"/>
  <p:tag name="LOGOHEIGHT" val="51.3885"/>
  <p:tag name="LOGOWIDTH" val="133.92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OGONAME" val="HSBC GBM (Trad Chinese)"/>
  <p:tag name="LOGOTOP" val="478.875"/>
  <p:tag name="LOGOLEFT" val="632.3751"/>
  <p:tag name="LOGOHEIGHT" val="23.75"/>
  <p:tag name="LOGOWIDTH" val="135.375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OGONAME" val="HSBC GBM (Sim Chinese)"/>
  <p:tag name="LOGOTOP" val="478.875"/>
  <p:tag name="LOGOLEFT" val="634.1251"/>
  <p:tag name="LOGOHEIGHT" val="24"/>
  <p:tag name="LOGOWIDTH" val="133.625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OGONAME" val="HSBC GBM"/>
  <p:tag name="LOGOTOP" val="479.25"/>
  <p:tag name="LOGOLEFT" val="633.75"/>
  <p:tag name="LOGOHEIGHT" val="46.37504"/>
  <p:tag name="LOGOWIDTH" val="134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OGONAME" val="HSBC Corporate"/>
  <p:tag name="LOGOTOP" val="479.0626"/>
  <p:tag name="LOGOLEFT" val="633.8751"/>
  <p:tag name="LOGOHEIGHT" val="55.25"/>
  <p:tag name="LOGOWIDTH" val="133.875"/>
</p:tagLst>
</file>

<file path=ppt/theme/theme1.xml><?xml version="1.0" encoding="utf-8"?>
<a:theme xmlns:a="http://schemas.openxmlformats.org/drawingml/2006/main" name="1_14-6197 MWC 2015- Asset creation templates 16x9">
  <a:themeElements>
    <a:clrScheme name="Accenture">
      <a:dk1>
        <a:srgbClr val="000000"/>
      </a:dk1>
      <a:lt1>
        <a:srgbClr val="FFFFFF"/>
      </a:lt1>
      <a:dk2>
        <a:srgbClr val="666666"/>
      </a:dk2>
      <a:lt2>
        <a:srgbClr val="778888"/>
      </a:lt2>
      <a:accent1>
        <a:srgbClr val="FFB500"/>
      </a:accent1>
      <a:accent2>
        <a:srgbClr val="00A000"/>
      </a:accent2>
      <a:accent3>
        <a:srgbClr val="00AA99"/>
      </a:accent3>
      <a:accent4>
        <a:srgbClr val="00BBEE"/>
      </a:accent4>
      <a:accent5>
        <a:srgbClr val="FF3366"/>
      </a:accent5>
      <a:accent6>
        <a:srgbClr val="AA1133"/>
      </a:accent6>
      <a:hlink>
        <a:srgbClr val="666666"/>
      </a:hlink>
      <a:folHlink>
        <a:srgbClr val="778888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lnDef>
      <a:spPr>
        <a:ln w="3175" cmpd="sng">
          <a:solidFill>
            <a:schemeClr val="tx1">
              <a:lumMod val="65000"/>
              <a:lumOff val="35000"/>
            </a:schemeClr>
          </a:solidFill>
          <a:headEnd type="none"/>
          <a:tailEnd type="triangle"/>
        </a:ln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dirty="0"/>
        </a:defPPr>
      </a:lstStyle>
    </a:txDef>
  </a:objectDefaults>
  <a:extraClrSchemeLst/>
</a:theme>
</file>

<file path=ppt/theme/theme2.xml><?xml version="1.0" encoding="utf-8"?>
<a:theme xmlns:a="http://schemas.openxmlformats.org/drawingml/2006/main" name="blank">
  <a:themeElements>
    <a:clrScheme name="SCB">
      <a:dk1>
        <a:srgbClr val="000000"/>
      </a:dk1>
      <a:lt1>
        <a:srgbClr val="FFFFFF"/>
      </a:lt1>
      <a:dk2>
        <a:srgbClr val="4E297F"/>
      </a:dk2>
      <a:lt2>
        <a:srgbClr val="808080"/>
      </a:lt2>
      <a:accent1>
        <a:srgbClr val="00CC99"/>
      </a:accent1>
      <a:accent2>
        <a:srgbClr val="EBE2F6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4E297F"/>
      </a:hlink>
      <a:folHlink>
        <a:srgbClr val="AE8DDB"/>
      </a:folHlink>
    </a:clrScheme>
    <a:fontScheme name="SCB-2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rgbClr val="EBE2F6"/>
        </a:solidFill>
        <a:ln w="9525" algn="ctr">
          <a:solidFill>
            <a:srgbClr val="EBE2F6"/>
          </a:solidFill>
          <a:miter lim="800000"/>
          <a:headEnd/>
          <a:tailEnd/>
        </a:ln>
      </a:spPr>
      <a:bodyPr tIns="91440" bIns="91440" rtlCol="0" anchor="ctr"/>
      <a:lstStyle>
        <a:defPPr algn="ctr">
          <a:buClr>
            <a:schemeClr val="tx2"/>
          </a:buClr>
          <a:defRPr sz="1400" dirty="0" err="1" smtClean="0">
            <a:latin typeface="Calibri" pitchFamily="34" charset="0"/>
          </a:defRPr>
        </a:defPPr>
      </a:lstStyle>
    </a:spDef>
    <a:lnDef>
      <a:spPr>
        <a:ln>
          <a:solidFill>
            <a:srgbClr val="808080"/>
          </a:solidFill>
          <a:tailEnd type="none" w="lg" len="lg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Example slides</Template>
  <TotalTime>1806</TotalTime>
  <Words>1714</Words>
  <Application>Microsoft Office PowerPoint</Application>
  <PresentationFormat>Widescreen</PresentationFormat>
  <Paragraphs>271</Paragraphs>
  <Slides>18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8</vt:i4>
      </vt:variant>
    </vt:vector>
  </HeadingPairs>
  <TitlesOfParts>
    <vt:vector size="28" baseType="lpstr">
      <vt:lpstr>MS PGothic</vt:lpstr>
      <vt:lpstr>Arial</vt:lpstr>
      <vt:lpstr>Calibri</vt:lpstr>
      <vt:lpstr>Cordia New</vt:lpstr>
      <vt:lpstr>Courier New</vt:lpstr>
      <vt:lpstr>Tahoma</vt:lpstr>
      <vt:lpstr>Wingdings</vt:lpstr>
      <vt:lpstr>1_14-6197 MWC 2015- Asset creation templates 16x9</vt:lpstr>
      <vt:lpstr>blank</vt:lpstr>
      <vt:lpstr>think-cell Slide</vt:lpstr>
      <vt:lpstr>PowerPoint Presentation</vt:lpstr>
      <vt:lpstr>Background</vt:lpstr>
      <vt:lpstr>Neural network for timeseries</vt:lpstr>
      <vt:lpstr>Model Structure and Parameters</vt:lpstr>
      <vt:lpstr>Data Processing for model</vt:lpstr>
      <vt:lpstr>Results from model using all available series</vt:lpstr>
      <vt:lpstr>Multiday forecast results</vt:lpstr>
      <vt:lpstr>PowerPoint Presentation</vt:lpstr>
      <vt:lpstr>Background</vt:lpstr>
      <vt:lpstr>Word2vec </vt:lpstr>
      <vt:lpstr>Training Datasets </vt:lpstr>
      <vt:lpstr>Word2vec similarity score</vt:lpstr>
      <vt:lpstr>Visualization of word embeddings</vt:lpstr>
      <vt:lpstr>Methodology</vt:lpstr>
      <vt:lpstr>Implementation</vt:lpstr>
      <vt:lpstr>KBank</vt:lpstr>
      <vt:lpstr>Probability distribution of scores</vt:lpstr>
      <vt:lpstr>Implication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weet classification and intent detection</dc:title>
  <dc:creator>Nanut</dc:creator>
  <cp:lastModifiedBy>Nanut </cp:lastModifiedBy>
  <cp:revision>80</cp:revision>
  <dcterms:created xsi:type="dcterms:W3CDTF">2018-07-17T08:45:47Z</dcterms:created>
  <dcterms:modified xsi:type="dcterms:W3CDTF">2018-08-16T13:48:41Z</dcterms:modified>
</cp:coreProperties>
</file>